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tiff" ContentType="image/tif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2.xml" ContentType="application/vnd.openxmlformats-officedocument.presentationml.tags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22"/>
  </p:notesMasterIdLst>
  <p:sldIdLst>
    <p:sldId id="271" r:id="rId2"/>
    <p:sldId id="451" r:id="rId3"/>
    <p:sldId id="445" r:id="rId4"/>
    <p:sldId id="450" r:id="rId5"/>
    <p:sldId id="257" r:id="rId6"/>
    <p:sldId id="444" r:id="rId7"/>
    <p:sldId id="466" r:id="rId8"/>
    <p:sldId id="460" r:id="rId9"/>
    <p:sldId id="477" r:id="rId10"/>
    <p:sldId id="475" r:id="rId11"/>
    <p:sldId id="458" r:id="rId12"/>
    <p:sldId id="469" r:id="rId13"/>
    <p:sldId id="471" r:id="rId14"/>
    <p:sldId id="468" r:id="rId15"/>
    <p:sldId id="467" r:id="rId16"/>
    <p:sldId id="459" r:id="rId17"/>
    <p:sldId id="482" r:id="rId18"/>
    <p:sldId id="480" r:id="rId19"/>
    <p:sldId id="479" r:id="rId20"/>
    <p:sldId id="481" r:id="rId21"/>
  </p:sldIdLst>
  <p:sldSz cx="12192000" cy="6858000"/>
  <p:notesSz cx="6797675" cy="9926638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00"/>
    <a:srgbClr val="E81231"/>
    <a:srgbClr val="ED1C3B"/>
    <a:srgbClr val="D53B3B"/>
    <a:srgbClr val="FFFFFF"/>
    <a:srgbClr val="F68872"/>
    <a:srgbClr val="FCD6CE"/>
    <a:srgbClr val="CE4C42"/>
    <a:srgbClr val="DB7435"/>
    <a:srgbClr val="EF211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0282" autoAdjust="0"/>
    <p:restoredTop sz="96087" autoAdjust="0"/>
  </p:normalViewPr>
  <p:slideViewPr>
    <p:cSldViewPr snapToGrid="0">
      <p:cViewPr varScale="1">
        <p:scale>
          <a:sx n="113" d="100"/>
          <a:sy n="113" d="100"/>
        </p:scale>
        <p:origin x="534" y="60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notesMaster" Target="notesMasters/notes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2FEDC91B-7FE4-4186-8982-609015196DF5}" type="doc">
      <dgm:prSet loTypeId="urn:microsoft.com/office/officeart/2008/layout/RadialCluster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AF3C2E3-D7F7-4967-8D34-DB2FFF14EECE}">
      <dgm:prSet phldrT="[Текст]"/>
      <dgm:spPr>
        <a:solidFill>
          <a:schemeClr val="accent3">
            <a:lumMod val="20000"/>
            <a:lumOff val="80000"/>
          </a:schemeClr>
        </a:solidFill>
        <a:ln>
          <a:solidFill>
            <a:schemeClr val="tx1"/>
          </a:solidFill>
        </a:ln>
      </dgm:spPr>
      <dgm:t>
        <a:bodyPr/>
        <a:lstStyle/>
        <a:p>
          <a:r>
            <a:rPr lang="ru-RU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ЕИАС ЖКХ</a:t>
          </a:r>
        </a:p>
      </dgm:t>
    </dgm:pt>
    <dgm:pt modelId="{023631A8-A3E9-4A31-9737-B52A52FC2237}" type="parTrans" cxnId="{4660A30E-CE5A-4DA7-8DC1-7359A95CF0AE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B9FC0F6-B2CB-4D73-91C6-844F571620EE}" type="sibTrans" cxnId="{4660A30E-CE5A-4DA7-8DC1-7359A95CF0AE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9887D23-ED72-4BED-A17E-58553E7784F5}">
      <dgm:prSet phldrT="[Текст]"/>
      <dgm:spPr>
        <a:solidFill>
          <a:schemeClr val="accent5">
            <a:lumMod val="60000"/>
            <a:lumOff val="4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ru-RU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67BBBF4-10EC-416F-873B-0818CDF5058E}" type="parTrans" cxnId="{D2EEFA5C-0C12-48ED-B470-BCF83EF07018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1D90B028-9A55-440C-87F9-B08024A69D5A}" type="sibTrans" cxnId="{D2EEFA5C-0C12-48ED-B470-BCF83EF07018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586A72A-87B0-4E71-A8C1-69EE27D81330}">
      <dgm:prSet phldrT="[Текст]"/>
      <dgm:spPr>
        <a:solidFill>
          <a:schemeClr val="accent2">
            <a:lumMod val="60000"/>
            <a:lumOff val="4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ru-RU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E6309E0-E780-4231-B116-1146603D9A45}" type="parTrans" cxnId="{26869200-646A-4474-88D6-38A411BC1FEF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1ACC636-172A-4FF9-B322-045703A1E8E1}" type="sibTrans" cxnId="{26869200-646A-4474-88D6-38A411BC1FEF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CF2F9005-0105-4527-90F6-43293C553F3E}">
      <dgm:prSet phldrT="[Текст]"/>
      <dgm:spPr>
        <a:solidFill>
          <a:srgbClr val="CCECFF"/>
        </a:solidFill>
        <a:ln>
          <a:solidFill>
            <a:schemeClr val="tx1"/>
          </a:solidFill>
        </a:ln>
      </dgm:spPr>
      <dgm:t>
        <a:bodyPr/>
        <a:lstStyle/>
        <a:p>
          <a:endParaRPr lang="ru-RU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A07D4D7-E79F-4696-A205-EB824A8FA123}" type="parTrans" cxnId="{1F629248-0AA5-4E02-BD69-1B8A1947749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000494A-E943-429A-A7F4-0D547F3374B7}" type="sibTrans" cxnId="{1F629248-0AA5-4E02-BD69-1B8A19477494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0F87E48B-FA08-43CB-BF65-2A7AA057AD9D}">
      <dgm:prSet/>
      <dgm:spPr>
        <a:ln>
          <a:solidFill>
            <a:schemeClr val="tx1"/>
          </a:solidFill>
        </a:ln>
      </dgm:spPr>
      <dgm:t>
        <a:bodyPr/>
        <a:lstStyle/>
        <a:p>
          <a:endParaRPr lang="ru-RU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4793CDF-590A-4A09-A153-F7C25906638C}" type="parTrans" cxnId="{373524BF-2B72-4D9A-996C-B0BEBEAA2557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7EB1CE60-9E3B-47AB-90DB-60C2EB0E5FB5}" type="sibTrans" cxnId="{373524BF-2B72-4D9A-996C-B0BEBEAA2557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CFA1084-BD28-4411-8D86-68C3791F53DF}">
      <dgm:prSet custT="1"/>
      <dgm:spPr>
        <a:solidFill>
          <a:srgbClr val="FFC000"/>
        </a:solidFill>
        <a:ln>
          <a:solidFill>
            <a:schemeClr val="tx1"/>
          </a:solidFill>
        </a:ln>
      </dgm:spPr>
      <dgm:t>
        <a:bodyPr/>
        <a:lstStyle/>
        <a:p>
          <a:endParaRPr lang="ru-RU" sz="14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272B1A92-E95D-408C-A551-EC2E0A7EF1A3}" type="parTrans" cxnId="{5A90E3CE-C9A4-4822-BA0A-5F899AE17016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8E56C35-D1CD-4337-9D83-F5D04E8BAA1D}" type="sibTrans" cxnId="{5A90E3CE-C9A4-4822-BA0A-5F899AE17016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1D4F71-3E82-4E40-A17E-009BD9489217}">
      <dgm:prSet/>
      <dgm:spPr>
        <a:solidFill>
          <a:schemeClr val="accent6">
            <a:lumMod val="60000"/>
            <a:lumOff val="40000"/>
          </a:schemeClr>
        </a:solidFill>
        <a:ln>
          <a:solidFill>
            <a:schemeClr val="tx1"/>
          </a:solidFill>
        </a:ln>
      </dgm:spPr>
      <dgm:t>
        <a:bodyPr/>
        <a:lstStyle/>
        <a:p>
          <a:endParaRPr lang="ru-RU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3A9AB0F-B2F5-47A3-9D4F-8A35A19998AF}" type="parTrans" cxnId="{89D5E165-861E-45F9-A4AA-2E1D51241709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A74A8427-10E9-4D17-A1A9-322FB4954137}" type="sibTrans" cxnId="{89D5E165-861E-45F9-A4AA-2E1D51241709}">
      <dgm:prSet/>
      <dgm:spPr/>
      <dgm:t>
        <a:bodyPr/>
        <a:lstStyle/>
        <a:p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6A447E63-3145-4DD5-A046-BED49EAB1992}" type="pres">
      <dgm:prSet presAssocID="{2FEDC91B-7FE4-4186-8982-609015196DF5}" presName="Name0" presStyleCnt="0">
        <dgm:presLayoutVars>
          <dgm:chMax val="1"/>
          <dgm:chPref val="1"/>
          <dgm:dir/>
          <dgm:animOne val="branch"/>
          <dgm:animLvl val="lvl"/>
        </dgm:presLayoutVars>
      </dgm:prSet>
      <dgm:spPr/>
      <dgm:t>
        <a:bodyPr/>
        <a:lstStyle/>
        <a:p>
          <a:endParaRPr lang="ru-RU"/>
        </a:p>
      </dgm:t>
    </dgm:pt>
    <dgm:pt modelId="{15B99AA0-8744-4D61-B67E-177CB7A477B4}" type="pres">
      <dgm:prSet presAssocID="{EAF3C2E3-D7F7-4967-8D34-DB2FFF14EECE}" presName="singleCycle" presStyleCnt="0"/>
      <dgm:spPr/>
    </dgm:pt>
    <dgm:pt modelId="{EA957212-C933-4EB6-B014-CD19139E0893}" type="pres">
      <dgm:prSet presAssocID="{EAF3C2E3-D7F7-4967-8D34-DB2FFF14EECE}" presName="singleCenter" presStyleLbl="node1" presStyleIdx="0" presStyleCnt="7">
        <dgm:presLayoutVars>
          <dgm:chMax val="7"/>
          <dgm:chPref val="7"/>
        </dgm:presLayoutVars>
      </dgm:prSet>
      <dgm:spPr/>
      <dgm:t>
        <a:bodyPr/>
        <a:lstStyle/>
        <a:p>
          <a:endParaRPr lang="ru-RU"/>
        </a:p>
      </dgm:t>
    </dgm:pt>
    <dgm:pt modelId="{2CAC6457-45B7-4886-9EA5-A4AB24E55CFC}" type="pres">
      <dgm:prSet presAssocID="{A67BBBF4-10EC-416F-873B-0818CDF5058E}" presName="Name56" presStyleLbl="parChTrans1D2" presStyleIdx="0" presStyleCnt="6"/>
      <dgm:spPr/>
      <dgm:t>
        <a:bodyPr/>
        <a:lstStyle/>
        <a:p>
          <a:endParaRPr lang="ru-RU"/>
        </a:p>
      </dgm:t>
    </dgm:pt>
    <dgm:pt modelId="{26E21A3E-7D58-43EA-9170-352BE3B8BCB3}" type="pres">
      <dgm:prSet presAssocID="{59887D23-ED72-4BED-A17E-58553E7784F5}" presName="text0" presStyleLbl="node1" presStyleIdx="1" presStyleCnt="7" custScaleX="131755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895ED88-2E93-4C01-B273-5D253F79521D}" type="pres">
      <dgm:prSet presAssocID="{DE6309E0-E780-4231-B116-1146603D9A45}" presName="Name56" presStyleLbl="parChTrans1D2" presStyleIdx="1" presStyleCnt="6"/>
      <dgm:spPr/>
      <dgm:t>
        <a:bodyPr/>
        <a:lstStyle/>
        <a:p>
          <a:endParaRPr lang="ru-RU"/>
        </a:p>
      </dgm:t>
    </dgm:pt>
    <dgm:pt modelId="{56D36A0B-8D8A-4F89-A659-D3B713852339}" type="pres">
      <dgm:prSet presAssocID="{0586A72A-87B0-4E71-A8C1-69EE27D81330}" presName="text0" presStyleLbl="node1" presStyleIdx="2" presStyleCnt="7" custScaleX="139635" custRadScaleRad="136469" custRadScaleInc="2886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4EA8434-90DB-498C-81FC-317588798514}" type="pres">
      <dgm:prSet presAssocID="{272B1A92-E95D-408C-A551-EC2E0A7EF1A3}" presName="Name56" presStyleLbl="parChTrans1D2" presStyleIdx="2" presStyleCnt="6"/>
      <dgm:spPr/>
      <dgm:t>
        <a:bodyPr/>
        <a:lstStyle/>
        <a:p>
          <a:endParaRPr lang="ru-RU"/>
        </a:p>
      </dgm:t>
    </dgm:pt>
    <dgm:pt modelId="{FF81733D-DED8-43F6-930A-DE0C9A615E5D}" type="pres">
      <dgm:prSet presAssocID="{6CFA1084-BD28-4411-8D86-68C3791F53DF}" presName="text0" presStyleLbl="node1" presStyleIdx="3" presStyleCnt="7" custScaleX="180936" custScaleY="104759" custRadScaleRad="139797" custRadScaleInc="-2472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F8059C6-2159-4566-80B2-56C4A7D43810}" type="pres">
      <dgm:prSet presAssocID="{D3A9AB0F-B2F5-47A3-9D4F-8A35A19998AF}" presName="Name56" presStyleLbl="parChTrans1D2" presStyleIdx="3" presStyleCnt="6"/>
      <dgm:spPr/>
      <dgm:t>
        <a:bodyPr/>
        <a:lstStyle/>
        <a:p>
          <a:endParaRPr lang="ru-RU"/>
        </a:p>
      </dgm:t>
    </dgm:pt>
    <dgm:pt modelId="{2E386E46-18BB-409C-AC0E-4C922F148BF7}" type="pres">
      <dgm:prSet presAssocID="{E31D4F71-3E82-4E40-A17E-009BD9489217}" presName="text0" presStyleLbl="node1" presStyleIdx="4" presStyleCnt="7" custScaleX="255035" custRadScaleRad="100045" custRadScaleInc="4116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2DAE0D2-3AAE-4B79-94AB-870F32FB0247}" type="pres">
      <dgm:prSet presAssocID="{0A07D4D7-E79F-4696-A205-EB824A8FA123}" presName="Name56" presStyleLbl="parChTrans1D2" presStyleIdx="4" presStyleCnt="6"/>
      <dgm:spPr/>
      <dgm:t>
        <a:bodyPr/>
        <a:lstStyle/>
        <a:p>
          <a:endParaRPr lang="ru-RU"/>
        </a:p>
      </dgm:t>
    </dgm:pt>
    <dgm:pt modelId="{8CE97BB4-D4CA-4AF8-A61B-B6D0020E5815}" type="pres">
      <dgm:prSet presAssocID="{CF2F9005-0105-4527-90F6-43293C553F3E}" presName="text0" presStyleLbl="node1" presStyleIdx="5" presStyleCnt="7" custScaleX="208393" custRadScaleRad="135223" custRadScaleInc="26284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8A52EC9-0058-4BE1-A46B-5A1A9301F61E}" type="pres">
      <dgm:prSet presAssocID="{74793CDF-590A-4A09-A153-F7C25906638C}" presName="Name56" presStyleLbl="parChTrans1D2" presStyleIdx="5" presStyleCnt="6"/>
      <dgm:spPr/>
      <dgm:t>
        <a:bodyPr/>
        <a:lstStyle/>
        <a:p>
          <a:endParaRPr lang="ru-RU"/>
        </a:p>
      </dgm:t>
    </dgm:pt>
    <dgm:pt modelId="{7F69B024-AF9B-4A08-95EE-BAA403F58976}" type="pres">
      <dgm:prSet presAssocID="{0F87E48B-FA08-43CB-BF65-2A7AA057AD9D}" presName="text0" presStyleLbl="node1" presStyleIdx="6" presStyleCnt="7" custScaleX="147592" custScaleY="117941" custRadScaleRad="136706" custRadScaleInc="-21587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9EEADDAB-122F-40C2-A93D-9883299C9CBF}" type="presOf" srcId="{272B1A92-E95D-408C-A551-EC2E0A7EF1A3}" destId="{64EA8434-90DB-498C-81FC-317588798514}" srcOrd="0" destOrd="0" presId="urn:microsoft.com/office/officeart/2008/layout/RadialCluster"/>
    <dgm:cxn modelId="{89D5E165-861E-45F9-A4AA-2E1D51241709}" srcId="{EAF3C2E3-D7F7-4967-8D34-DB2FFF14EECE}" destId="{E31D4F71-3E82-4E40-A17E-009BD9489217}" srcOrd="3" destOrd="0" parTransId="{D3A9AB0F-B2F5-47A3-9D4F-8A35A19998AF}" sibTransId="{A74A8427-10E9-4D17-A1A9-322FB4954137}"/>
    <dgm:cxn modelId="{1F629248-0AA5-4E02-BD69-1B8A19477494}" srcId="{EAF3C2E3-D7F7-4967-8D34-DB2FFF14EECE}" destId="{CF2F9005-0105-4527-90F6-43293C553F3E}" srcOrd="4" destOrd="0" parTransId="{0A07D4D7-E79F-4696-A205-EB824A8FA123}" sibTransId="{8000494A-E943-429A-A7F4-0D547F3374B7}"/>
    <dgm:cxn modelId="{76287783-A689-4ABF-A1B2-3BA41C637309}" type="presOf" srcId="{D3A9AB0F-B2F5-47A3-9D4F-8A35A19998AF}" destId="{4F8059C6-2159-4566-80B2-56C4A7D43810}" srcOrd="0" destOrd="0" presId="urn:microsoft.com/office/officeart/2008/layout/RadialCluster"/>
    <dgm:cxn modelId="{7F81E444-5FD5-4F76-A84D-9EF48AD2DD4F}" type="presOf" srcId="{CF2F9005-0105-4527-90F6-43293C553F3E}" destId="{8CE97BB4-D4CA-4AF8-A61B-B6D0020E5815}" srcOrd="0" destOrd="0" presId="urn:microsoft.com/office/officeart/2008/layout/RadialCluster"/>
    <dgm:cxn modelId="{1015E04F-D04D-4093-9AB1-CE25C3EC44F8}" type="presOf" srcId="{EAF3C2E3-D7F7-4967-8D34-DB2FFF14EECE}" destId="{EA957212-C933-4EB6-B014-CD19139E0893}" srcOrd="0" destOrd="0" presId="urn:microsoft.com/office/officeart/2008/layout/RadialCluster"/>
    <dgm:cxn modelId="{373524BF-2B72-4D9A-996C-B0BEBEAA2557}" srcId="{EAF3C2E3-D7F7-4967-8D34-DB2FFF14EECE}" destId="{0F87E48B-FA08-43CB-BF65-2A7AA057AD9D}" srcOrd="5" destOrd="0" parTransId="{74793CDF-590A-4A09-A153-F7C25906638C}" sibTransId="{7EB1CE60-9E3B-47AB-90DB-60C2EB0E5FB5}"/>
    <dgm:cxn modelId="{F997D54A-ECF4-4555-8EAB-6A599821185C}" type="presOf" srcId="{A67BBBF4-10EC-416F-873B-0818CDF5058E}" destId="{2CAC6457-45B7-4886-9EA5-A4AB24E55CFC}" srcOrd="0" destOrd="0" presId="urn:microsoft.com/office/officeart/2008/layout/RadialCluster"/>
    <dgm:cxn modelId="{D53CFBE3-63EC-4C88-931B-621FF8C0B515}" type="presOf" srcId="{E31D4F71-3E82-4E40-A17E-009BD9489217}" destId="{2E386E46-18BB-409C-AC0E-4C922F148BF7}" srcOrd="0" destOrd="0" presId="urn:microsoft.com/office/officeart/2008/layout/RadialCluster"/>
    <dgm:cxn modelId="{C59F938C-E220-4196-8F12-ECD014A2F241}" type="presOf" srcId="{2FEDC91B-7FE4-4186-8982-609015196DF5}" destId="{6A447E63-3145-4DD5-A046-BED49EAB1992}" srcOrd="0" destOrd="0" presId="urn:microsoft.com/office/officeart/2008/layout/RadialCluster"/>
    <dgm:cxn modelId="{D2EEFA5C-0C12-48ED-B470-BCF83EF07018}" srcId="{EAF3C2E3-D7F7-4967-8D34-DB2FFF14EECE}" destId="{59887D23-ED72-4BED-A17E-58553E7784F5}" srcOrd="0" destOrd="0" parTransId="{A67BBBF4-10EC-416F-873B-0818CDF5058E}" sibTransId="{1D90B028-9A55-440C-87F9-B08024A69D5A}"/>
    <dgm:cxn modelId="{0E5C39E3-46D2-4BFE-96CB-A684FCFD5F46}" type="presOf" srcId="{74793CDF-590A-4A09-A153-F7C25906638C}" destId="{48A52EC9-0058-4BE1-A46B-5A1A9301F61E}" srcOrd="0" destOrd="0" presId="urn:microsoft.com/office/officeart/2008/layout/RadialCluster"/>
    <dgm:cxn modelId="{F5D91177-4005-405D-8163-3D47467A3646}" type="presOf" srcId="{59887D23-ED72-4BED-A17E-58553E7784F5}" destId="{26E21A3E-7D58-43EA-9170-352BE3B8BCB3}" srcOrd="0" destOrd="0" presId="urn:microsoft.com/office/officeart/2008/layout/RadialCluster"/>
    <dgm:cxn modelId="{128105DF-A17B-4609-B623-536A0E94FEFE}" type="presOf" srcId="{0A07D4D7-E79F-4696-A205-EB824A8FA123}" destId="{E2DAE0D2-3AAE-4B79-94AB-870F32FB0247}" srcOrd="0" destOrd="0" presId="urn:microsoft.com/office/officeart/2008/layout/RadialCluster"/>
    <dgm:cxn modelId="{26869200-646A-4474-88D6-38A411BC1FEF}" srcId="{EAF3C2E3-D7F7-4967-8D34-DB2FFF14EECE}" destId="{0586A72A-87B0-4E71-A8C1-69EE27D81330}" srcOrd="1" destOrd="0" parTransId="{DE6309E0-E780-4231-B116-1146603D9A45}" sibTransId="{81ACC636-172A-4FF9-B322-045703A1E8E1}"/>
    <dgm:cxn modelId="{2F88CD0B-C663-49C5-AD91-F96AFCBC704F}" type="presOf" srcId="{0F87E48B-FA08-43CB-BF65-2A7AA057AD9D}" destId="{7F69B024-AF9B-4A08-95EE-BAA403F58976}" srcOrd="0" destOrd="0" presId="urn:microsoft.com/office/officeart/2008/layout/RadialCluster"/>
    <dgm:cxn modelId="{4660A30E-CE5A-4DA7-8DC1-7359A95CF0AE}" srcId="{2FEDC91B-7FE4-4186-8982-609015196DF5}" destId="{EAF3C2E3-D7F7-4967-8D34-DB2FFF14EECE}" srcOrd="0" destOrd="0" parTransId="{023631A8-A3E9-4A31-9737-B52A52FC2237}" sibTransId="{3B9FC0F6-B2CB-4D73-91C6-844F571620EE}"/>
    <dgm:cxn modelId="{8E80EAB3-B7CE-4D90-A6C8-0C88F1A99133}" type="presOf" srcId="{0586A72A-87B0-4E71-A8C1-69EE27D81330}" destId="{56D36A0B-8D8A-4F89-A659-D3B713852339}" srcOrd="0" destOrd="0" presId="urn:microsoft.com/office/officeart/2008/layout/RadialCluster"/>
    <dgm:cxn modelId="{5A90E3CE-C9A4-4822-BA0A-5F899AE17016}" srcId="{EAF3C2E3-D7F7-4967-8D34-DB2FFF14EECE}" destId="{6CFA1084-BD28-4411-8D86-68C3791F53DF}" srcOrd="2" destOrd="0" parTransId="{272B1A92-E95D-408C-A551-EC2E0A7EF1A3}" sibTransId="{D8E56C35-D1CD-4337-9D83-F5D04E8BAA1D}"/>
    <dgm:cxn modelId="{A869EF97-5233-40BA-808B-8E392549FF6B}" type="presOf" srcId="{DE6309E0-E780-4231-B116-1146603D9A45}" destId="{7895ED88-2E93-4C01-B273-5D253F79521D}" srcOrd="0" destOrd="0" presId="urn:microsoft.com/office/officeart/2008/layout/RadialCluster"/>
    <dgm:cxn modelId="{4AD0E85C-12F7-4F1A-A736-72E93999FEB8}" type="presOf" srcId="{6CFA1084-BD28-4411-8D86-68C3791F53DF}" destId="{FF81733D-DED8-43F6-930A-DE0C9A615E5D}" srcOrd="0" destOrd="0" presId="urn:microsoft.com/office/officeart/2008/layout/RadialCluster"/>
    <dgm:cxn modelId="{AB938342-7D91-4BFD-B910-AE912BB9C700}" type="presParOf" srcId="{6A447E63-3145-4DD5-A046-BED49EAB1992}" destId="{15B99AA0-8744-4D61-B67E-177CB7A477B4}" srcOrd="0" destOrd="0" presId="urn:microsoft.com/office/officeart/2008/layout/RadialCluster"/>
    <dgm:cxn modelId="{7B52322D-6ED0-4206-B26E-75DDBB5FF4D5}" type="presParOf" srcId="{15B99AA0-8744-4D61-B67E-177CB7A477B4}" destId="{EA957212-C933-4EB6-B014-CD19139E0893}" srcOrd="0" destOrd="0" presId="urn:microsoft.com/office/officeart/2008/layout/RadialCluster"/>
    <dgm:cxn modelId="{408C6D90-4A06-4A3C-92F7-2E60E588CF40}" type="presParOf" srcId="{15B99AA0-8744-4D61-B67E-177CB7A477B4}" destId="{2CAC6457-45B7-4886-9EA5-A4AB24E55CFC}" srcOrd="1" destOrd="0" presId="urn:microsoft.com/office/officeart/2008/layout/RadialCluster"/>
    <dgm:cxn modelId="{DE97C59D-E760-4FBA-B8A5-EACB37D1AB16}" type="presParOf" srcId="{15B99AA0-8744-4D61-B67E-177CB7A477B4}" destId="{26E21A3E-7D58-43EA-9170-352BE3B8BCB3}" srcOrd="2" destOrd="0" presId="urn:microsoft.com/office/officeart/2008/layout/RadialCluster"/>
    <dgm:cxn modelId="{79A6A9CC-7B16-4C5C-9382-452D1B729637}" type="presParOf" srcId="{15B99AA0-8744-4D61-B67E-177CB7A477B4}" destId="{7895ED88-2E93-4C01-B273-5D253F79521D}" srcOrd="3" destOrd="0" presId="urn:microsoft.com/office/officeart/2008/layout/RadialCluster"/>
    <dgm:cxn modelId="{21724A9D-F1A6-4EC8-AE24-B69311517C20}" type="presParOf" srcId="{15B99AA0-8744-4D61-B67E-177CB7A477B4}" destId="{56D36A0B-8D8A-4F89-A659-D3B713852339}" srcOrd="4" destOrd="0" presId="urn:microsoft.com/office/officeart/2008/layout/RadialCluster"/>
    <dgm:cxn modelId="{EDFAFFCB-5C5D-4D61-8610-1A62D29934EF}" type="presParOf" srcId="{15B99AA0-8744-4D61-B67E-177CB7A477B4}" destId="{64EA8434-90DB-498C-81FC-317588798514}" srcOrd="5" destOrd="0" presId="urn:microsoft.com/office/officeart/2008/layout/RadialCluster"/>
    <dgm:cxn modelId="{7CB9BE8C-6435-4642-881E-B18CF3778036}" type="presParOf" srcId="{15B99AA0-8744-4D61-B67E-177CB7A477B4}" destId="{FF81733D-DED8-43F6-930A-DE0C9A615E5D}" srcOrd="6" destOrd="0" presId="urn:microsoft.com/office/officeart/2008/layout/RadialCluster"/>
    <dgm:cxn modelId="{D5C664FA-B565-4EB2-A03B-A9D8D0CDB51D}" type="presParOf" srcId="{15B99AA0-8744-4D61-B67E-177CB7A477B4}" destId="{4F8059C6-2159-4566-80B2-56C4A7D43810}" srcOrd="7" destOrd="0" presId="urn:microsoft.com/office/officeart/2008/layout/RadialCluster"/>
    <dgm:cxn modelId="{05544497-C1A9-4D83-AC2F-ECA4AF23401A}" type="presParOf" srcId="{15B99AA0-8744-4D61-B67E-177CB7A477B4}" destId="{2E386E46-18BB-409C-AC0E-4C922F148BF7}" srcOrd="8" destOrd="0" presId="urn:microsoft.com/office/officeart/2008/layout/RadialCluster"/>
    <dgm:cxn modelId="{90500BB1-0652-4827-AEE3-845A41A5A2A1}" type="presParOf" srcId="{15B99AA0-8744-4D61-B67E-177CB7A477B4}" destId="{E2DAE0D2-3AAE-4B79-94AB-870F32FB0247}" srcOrd="9" destOrd="0" presId="urn:microsoft.com/office/officeart/2008/layout/RadialCluster"/>
    <dgm:cxn modelId="{4315DDCD-B430-46FA-8199-C93839381643}" type="presParOf" srcId="{15B99AA0-8744-4D61-B67E-177CB7A477B4}" destId="{8CE97BB4-D4CA-4AF8-A61B-B6D0020E5815}" srcOrd="10" destOrd="0" presId="urn:microsoft.com/office/officeart/2008/layout/RadialCluster"/>
    <dgm:cxn modelId="{A426B761-A675-4031-8588-F22D31F58367}" type="presParOf" srcId="{15B99AA0-8744-4D61-B67E-177CB7A477B4}" destId="{48A52EC9-0058-4BE1-A46B-5A1A9301F61E}" srcOrd="11" destOrd="0" presId="urn:microsoft.com/office/officeart/2008/layout/RadialCluster"/>
    <dgm:cxn modelId="{0F39968E-F15F-48AF-A2A5-689D8830D71C}" type="presParOf" srcId="{15B99AA0-8744-4D61-B67E-177CB7A477B4}" destId="{7F69B024-AF9B-4A08-95EE-BAA403F58976}" srcOrd="12" destOrd="0" presId="urn:microsoft.com/office/officeart/2008/layout/RadialCluster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A957212-C933-4EB6-B014-CD19139E0893}">
      <dsp:nvSpPr>
        <dsp:cNvPr id="0" name=""/>
        <dsp:cNvSpPr/>
      </dsp:nvSpPr>
      <dsp:spPr>
        <a:xfrm>
          <a:off x="3017665" y="1698837"/>
          <a:ext cx="1456146" cy="1456146"/>
        </a:xfrm>
        <a:prstGeom prst="roundRect">
          <a:avLst/>
        </a:prstGeom>
        <a:solidFill>
          <a:schemeClr val="accent3">
            <a:lumMod val="20000"/>
            <a:lumOff val="80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740" tIns="78740" rIns="78740" bIns="78740" numCol="1" spcCol="1270" anchor="ctr" anchorCtr="0">
          <a:noAutofit/>
        </a:bodyPr>
        <a:lstStyle/>
        <a:p>
          <a:pPr lvl="0" algn="ctr" defTabSz="1377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31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ЕИАС ЖКХ</a:t>
          </a:r>
        </a:p>
      </dsp:txBody>
      <dsp:txXfrm>
        <a:off x="3088748" y="1769920"/>
        <a:ext cx="1313980" cy="1313980"/>
      </dsp:txXfrm>
    </dsp:sp>
    <dsp:sp modelId="{2CAC6457-45B7-4886-9EA5-A4AB24E55CFC}">
      <dsp:nvSpPr>
        <dsp:cNvPr id="0" name=""/>
        <dsp:cNvSpPr/>
      </dsp:nvSpPr>
      <dsp:spPr>
        <a:xfrm rot="16200000">
          <a:off x="3384337" y="1337435"/>
          <a:ext cx="722802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22802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6E21A3E-7D58-43EA-9170-352BE3B8BCB3}">
      <dsp:nvSpPr>
        <dsp:cNvPr id="0" name=""/>
        <dsp:cNvSpPr/>
      </dsp:nvSpPr>
      <dsp:spPr>
        <a:xfrm>
          <a:off x="3103026" y="417"/>
          <a:ext cx="1285425" cy="975617"/>
        </a:xfrm>
        <a:prstGeom prst="roundRect">
          <a:avLst/>
        </a:prstGeom>
        <a:solidFill>
          <a:schemeClr val="accent5">
            <a:lumMod val="60000"/>
            <a:lumOff val="40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150652" y="48043"/>
        <a:ext cx="1190173" cy="880365"/>
      </dsp:txXfrm>
    </dsp:sp>
    <dsp:sp modelId="{7895ED88-2E93-4C01-B273-5D253F79521D}">
      <dsp:nvSpPr>
        <dsp:cNvPr id="0" name=""/>
        <dsp:cNvSpPr/>
      </dsp:nvSpPr>
      <dsp:spPr>
        <a:xfrm rot="20319552">
          <a:off x="4434977" y="1936338"/>
          <a:ext cx="113273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13273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56D36A0B-8D8A-4F89-A659-D3B713852339}">
      <dsp:nvSpPr>
        <dsp:cNvPr id="0" name=""/>
        <dsp:cNvSpPr/>
      </dsp:nvSpPr>
      <dsp:spPr>
        <a:xfrm>
          <a:off x="5528879" y="976291"/>
          <a:ext cx="1362303" cy="975617"/>
        </a:xfrm>
        <a:prstGeom prst="roundRect">
          <a:avLst/>
        </a:prstGeom>
        <a:solidFill>
          <a:schemeClr val="accent2">
            <a:lumMod val="60000"/>
            <a:lumOff val="40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576505" y="1023917"/>
        <a:ext cx="1267051" cy="880365"/>
      </dsp:txXfrm>
    </dsp:sp>
    <dsp:sp modelId="{64EA8434-90DB-498C-81FC-317588798514}">
      <dsp:nvSpPr>
        <dsp:cNvPr id="0" name=""/>
        <dsp:cNvSpPr/>
      </dsp:nvSpPr>
      <dsp:spPr>
        <a:xfrm rot="1354878">
          <a:off x="4436790" y="2915127"/>
          <a:ext cx="96579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96579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FF81733D-DED8-43F6-930A-DE0C9A615E5D}">
      <dsp:nvSpPr>
        <dsp:cNvPr id="0" name=""/>
        <dsp:cNvSpPr/>
      </dsp:nvSpPr>
      <dsp:spPr>
        <a:xfrm>
          <a:off x="5365561" y="2956595"/>
          <a:ext cx="1765243" cy="1022047"/>
        </a:xfrm>
        <a:prstGeom prst="roundRect">
          <a:avLst/>
        </a:prstGeom>
        <a:solidFill>
          <a:srgbClr val="FFC000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35560" tIns="35560" rIns="35560" bIns="35560" numCol="1" spcCol="1270" anchor="ctr" anchorCtr="0">
          <a:noAutofit/>
        </a:bodyPr>
        <a:lstStyle/>
        <a:p>
          <a:pPr lvl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14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415453" y="3006487"/>
        <a:ext cx="1665459" cy="922263"/>
      </dsp:txXfrm>
    </dsp:sp>
    <dsp:sp modelId="{4F8059C6-2159-4566-80B2-56C4A7D43810}">
      <dsp:nvSpPr>
        <dsp:cNvPr id="0" name=""/>
        <dsp:cNvSpPr/>
      </dsp:nvSpPr>
      <dsp:spPr>
        <a:xfrm rot="5474088">
          <a:off x="3360557" y="3516592"/>
          <a:ext cx="723387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23387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2E386E46-18BB-409C-AC0E-4C922F148BF7}">
      <dsp:nvSpPr>
        <dsp:cNvPr id="0" name=""/>
        <dsp:cNvSpPr/>
      </dsp:nvSpPr>
      <dsp:spPr>
        <a:xfrm>
          <a:off x="2459858" y="3878202"/>
          <a:ext cx="2488166" cy="975617"/>
        </a:xfrm>
        <a:prstGeom prst="roundRect">
          <a:avLst/>
        </a:prstGeom>
        <a:solidFill>
          <a:schemeClr val="accent6">
            <a:lumMod val="60000"/>
            <a:lumOff val="4000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2507484" y="3925828"/>
        <a:ext cx="2392914" cy="880365"/>
      </dsp:txXfrm>
    </dsp:sp>
    <dsp:sp modelId="{E2DAE0D2-3AAE-4B79-94AB-870F32FB0247}">
      <dsp:nvSpPr>
        <dsp:cNvPr id="0" name=""/>
        <dsp:cNvSpPr/>
      </dsp:nvSpPr>
      <dsp:spPr>
        <a:xfrm rot="9473112">
          <a:off x="2306454" y="2861753"/>
          <a:ext cx="738371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738371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8CE97BB4-D4CA-4AF8-A61B-B6D0020E5815}">
      <dsp:nvSpPr>
        <dsp:cNvPr id="0" name=""/>
        <dsp:cNvSpPr/>
      </dsp:nvSpPr>
      <dsp:spPr>
        <a:xfrm>
          <a:off x="300496" y="2926017"/>
          <a:ext cx="2033119" cy="975617"/>
        </a:xfrm>
        <a:prstGeom prst="roundRect">
          <a:avLst/>
        </a:prstGeom>
        <a:solidFill>
          <a:srgbClr val="CCECFF"/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48122" y="2973643"/>
        <a:ext cx="1937867" cy="880365"/>
      </dsp:txXfrm>
    </dsp:sp>
    <dsp:sp modelId="{48A52EC9-0058-4BE1-A46B-5A1A9301F61E}">
      <dsp:nvSpPr>
        <dsp:cNvPr id="0" name=""/>
        <dsp:cNvSpPr/>
      </dsp:nvSpPr>
      <dsp:spPr>
        <a:xfrm rot="12211434">
          <a:off x="1991161" y="1896237"/>
          <a:ext cx="1071008" cy="0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1071008" y="0"/>
              </a:lnTo>
            </a:path>
          </a:pathLst>
        </a:custGeom>
        <a:noFill/>
        <a:ln w="12700" cap="flat" cmpd="sng" algn="ctr">
          <a:solidFill>
            <a:schemeClr val="accent1">
              <a:shade val="6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</dsp:sp>
    <dsp:sp modelId="{7F69B024-AF9B-4A08-95EE-BAA403F58976}">
      <dsp:nvSpPr>
        <dsp:cNvPr id="0" name=""/>
        <dsp:cNvSpPr/>
      </dsp:nvSpPr>
      <dsp:spPr>
        <a:xfrm>
          <a:off x="595731" y="793765"/>
          <a:ext cx="1439933" cy="1150653"/>
        </a:xfrm>
        <a:prstGeom prst="round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tx1"/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6002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ru-RU" sz="3600" kern="120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651901" y="849935"/>
        <a:ext cx="1327593" cy="103831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RadialCluster">
  <dgm:title val=""/>
  <dgm:desc val=""/>
  <dgm:catLst>
    <dgm:cat type="relationship" pri="19500"/>
    <dgm:cat type="cycle" pri="1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Name0">
    <dgm:varLst>
      <dgm:chMax val="1"/>
      <dgm:chPref val="1"/>
      <dgm:dir/>
      <dgm:animOne val="branch"/>
      <dgm:animLvl val="lvl"/>
    </dgm:varLst>
    <dgm:alg type="composite">
      <dgm:param type="ar" val="1.00"/>
    </dgm:alg>
    <dgm:shape xmlns:r="http://schemas.openxmlformats.org/officeDocument/2006/relationships" r:blip="">
      <dgm:adjLst/>
    </dgm:shape>
    <dgm:choose name="Name1">
      <dgm:if name="Name2" func="var" arg="dir" op="equ" val="norm">
        <dgm:choose name="Name3">
          <dgm:if name="Name4" axis="ch ch" ptType="node node" cnt="1 0" func="cnt" op="equ" val="1">
            <dgm:constrLst>
              <dgm:constr type="l" for="ch" forName="textCenter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r" for="ch" forName="cycle_1" refType="w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5" axis="ch ch" ptType="node node" cnt="1 0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6" axis="ch ch" ptType="node node" cnt="1 0" func="cnt" op="equ" val="3">
            <dgm:choose name="Name7">
              <dgm:if name="Name8" axis="ch ch ch" ptType="node node node" st="1 2 0" cnt="1 1 0" func="cnt" op="equ" val="1">
                <dgm:choose name="Name9">
                  <dgm:if name="Name10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12">
                <dgm:choose name="Name13">
                  <dgm:if name="Name14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15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r" for="ch" forName="cycle_2" refType="w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l" for="ch" forName="cycle_3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16" axis="ch ch" ptType="node node" cnt="1 0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r" for="ch" forName="cycle_2" refType="w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l" for="ch" forName="cycle_4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17" axis="ch ch" ptType="node node" cnt="1 0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r" for="ch" forName="cycle_3" refType="w" fact="0.89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l" for="ch" forName="cycle_4" refType="w" fact="0.11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18" axis="ch ch" ptType="node node" cnt="1 0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r" for="ch" forName="cycle_2" refType="w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r" for="ch" forName="cycle_3" refType="w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l" for="ch" forName="cycle_5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l" for="ch" forName="cycle_6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19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r" for="ch" forName="cycle_2" refType="w" fact="0.938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r" for="ch" forName="cycle_3" refType="w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r" for="ch" forName="cycle_4" refType="w" fact="0.8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l" for="ch" forName="cycle_5" refType="w" fact="0.2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l" for="ch" forName="cycle_6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l" for="ch" forName="cycle_7" refType="w" fact="0.062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if>
      <dgm:else name="Name20">
        <dgm:choose name="Name21">
          <dgm:if name="Name22" axis="ch ch" ptType="node node" func="cnt" op="equ" val="1">
            <dgm:constrLst>
              <dgm:constr type="r" for="ch" forName="textCenter" refType="w"/>
              <dgm:constr type="ctrY" for="ch" forName="textCenter" refType="h" fact="0.5"/>
              <dgm:constr type="w" for="ch" forName="textCenter" refType="w" fact="0.32"/>
              <dgm:constr type="h" for="ch" forName="textCenter" refType="w" refFor="ch" refForName="textCenter"/>
              <dgm:constr type="l" for="ch" forName="cycle_1"/>
              <dgm:constr type="ctrY" for="ch" forName="cycle_1" refType="h" fact="0.5"/>
              <dgm:constr type="w" for="ch" forName="cycle_1" refType="w" fact="0.56"/>
              <dgm:constr type="h" for="ch" forName="cycle_1" refType="h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userS" for="des" ptType="node" refType="w" refFor="ch" refForName="textCenter" fact="0.67"/>
            </dgm:constrLst>
          </dgm:if>
          <dgm:if name="Name23" axis="ch ch" ptType="node node" func="cnt" op="equ" val="2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5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/>
              <dgm:constr type="h" for="ch" forName="cycle_1" refType="h" fact="0.34"/>
              <dgm:constr type="ctrX" for="ch" forName="cycle_2" refType="w" fact="0.5"/>
              <dgm:constr type="b" for="ch" forName="cycle_2" refType="h"/>
              <dgm:constr type="w" for="ch" forName="cycle_2" refType="w"/>
              <dgm:constr type="h" for="ch" forName="cycle_2" refType="h" fact="0.34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userS" for="des" ptType="node" refType="w" refFor="ch" refForName="textCenter" fact="0.67"/>
            </dgm:constrLst>
          </dgm:if>
          <dgm:if name="Name24" axis="ch ch" ptType="node node" func="cnt" op="equ" val="3">
            <dgm:choose name="Name25">
              <dgm:if name="Name26" axis="ch ch ch" ptType="node node node" st="1 2 0" cnt="1 1 0" func="cnt" op="equ" val="1">
                <dgm:choose name="Name27">
                  <dgm:if name="Name28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29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 fact="0.85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if>
              <dgm:else name="Name30">
                <dgm:choose name="Name31">
                  <dgm:if name="Name32" axis="ch ch ch" ptType="node node node" st="1 3 0" cnt="1 1 0" func="cnt" op="equ" val="1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 fact="0.85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if>
                  <dgm:else name="Name33">
                    <dgm:constrLst>
                      <dgm:constr type="ctrX" for="ch" forName="textCenter" refType="w" fact="0.5"/>
                      <dgm:constr type="t" for="ch" forName="textCenter" refType="h" fact="0.436"/>
                      <dgm:constr type="w" for="ch" forName="textCenter" refType="w" fact="0.21"/>
                      <dgm:constr type="h" for="ch" forName="textCenter" refType="w" refFor="ch" refForName="textCenter"/>
                      <dgm:constr type="ctrX" for="ch" forName="cycle_1" refType="w" fact="0.5"/>
                      <dgm:constr type="t" for="ch" forName="cycle_1"/>
                      <dgm:constr type="w" for="ch" forName="cycle_1" refType="w" fact="0.61"/>
                      <dgm:constr type="h" for="ch" forName="cycle_1" refType="h" fact="0.36"/>
                      <dgm:constr type="diam" for="ch" forName="cycle_1" refType="w" fact="0.5"/>
                      <dgm:constr type="l" for="ch" forName="cycle_2"/>
                      <dgm:constr type="b" for="ch" forName="cycle_2" refType="h"/>
                      <dgm:constr type="w" for="ch" forName="cycle_2" refType="w" fact="0.46"/>
                      <dgm:constr type="h" for="ch" forName="cycle_2" refType="h" fact="0.54"/>
                      <dgm:constr type="diam" for="ch" forName="cycle_2" refType="w" fact="0.5"/>
                      <dgm:constr type="r" for="ch" forName="cycle_3" refType="w"/>
                      <dgm:constr type="b" for="ch" forName="cycle_3" refType="h"/>
                      <dgm:constr type="w" for="ch" forName="cycle_3" refType="w" fact="0.46"/>
                      <dgm:constr type="h" for="ch" forName="cycle_3" refType="h" fact="0.54"/>
                      <dgm:constr type="diam" for="ch" forName="cycle_3" refType="w" fact="0.5"/>
                      <dgm:constr type="primFontSz" for="ch" forName="textCenter" val="65"/>
                      <dgm:constr type="primFontSz" for="des" forName="childCenter1" val="65"/>
                      <dgm:constr type="primFontSz" for="des" forName="text1" op="equ" val="65"/>
                      <dgm:constr type="primFontSz" for="des" forName="childCenter2" refType="primFontSz" refFor="des" refForName="childCenter1" op="equ"/>
                      <dgm:constr type="primFontSz" for="des" forName="text2" refType="primFontSz" refFor="des" refForName="text1" op="equ"/>
                      <dgm:constr type="primFontSz" for="des" forName="childCenter3" refType="primFontSz" refFor="des" refForName="childCenter1" op="equ"/>
                      <dgm:constr type="primFontSz" for="des" forName="text3" refType="primFontSz" refFor="des" refForName="text1" op="equ"/>
                      <dgm:constr type="userS" for="des" ptType="node" refType="w" refFor="ch" refForName="textCenter" fact="0.67"/>
                    </dgm:constrLst>
                  </dgm:else>
                </dgm:choose>
              </dgm:else>
            </dgm:choose>
          </dgm:if>
          <dgm:if name="Name34" axis="ch ch" ptType="node node" func="cnt" op="equ" val="4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5"/>
              <dgm:constr type="h" for="ch" forName="cycle_1" refType="h" fact="0.33"/>
              <dgm:constr type="l" for="ch" forName="cycle_2"/>
              <dgm:constr type="ctrY" for="ch" forName="cycle_2" refType="h" fact="0.5"/>
              <dgm:constr type="w" for="ch" forName="cycle_2" refType="w" fact="0.33"/>
              <dgm:constr type="h" for="ch" forName="cycle_2" refType="h" fact="0.5"/>
              <dgm:constr type="ctrX" for="ch" forName="cycle_3" refType="w" fact="0.5"/>
              <dgm:constr type="b" for="ch" forName="cycle_3" refType="h"/>
              <dgm:constr type="w" for="ch" forName="cycle_3" refType="w" fact="0.5"/>
              <dgm:constr type="h" for="ch" forName="cycle_3" refType="h" fact="0.33"/>
              <dgm:constr type="r" for="ch" forName="cycle_4" refType="w"/>
              <dgm:constr type="ctrY" for="ch" forName="cycle_4" refType="h" fact="0.5"/>
              <dgm:constr type="w" for="ch" forName="cycle_4" refType="w" fact="0.33"/>
              <dgm:constr type="h" for="ch" forName="cycle_4" refType="h" fact="0.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userS" for="des" ptType="node" refType="w" refFor="ch" refForName="textCenter" fact="0.67"/>
            </dgm:constrLst>
          </dgm:if>
          <dgm:if name="Name35" axis="ch ch" ptType="node node" func="cnt" op="equ" val="5">
            <dgm:constrLst>
              <dgm:constr type="ctrX" for="ch" forName="textCenter" refType="w" fact="0.5"/>
              <dgm:constr type="t" for="ch" forName="textCenter" refType="h" fact="0.42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24"/>
              <dgm:constr type="w" for="ch" forName="cycle_2" refType="w" fact="0.33"/>
              <dgm:constr type="h" for="ch" forName="cycle_2" refType="w" refFor="ch" refForName="cycle_2"/>
              <dgm:constr type="l" for="ch" forName="cycle_3" refType="w" fact="0.11"/>
              <dgm:constr type="b" for="ch" forName="cycle_3" refType="h"/>
              <dgm:constr type="w" for="ch" forName="cycle_3" refType="w" fact="0.33"/>
              <dgm:constr type="h" for="ch" forName="cycle_3" refType="w" refFor="ch" refForName="cycle_3"/>
              <dgm:constr type="r" for="ch" forName="cycle_4" refType="w" fact="0.89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t" for="ch" forName="cycle_5" refType="h" fact="0.24"/>
              <dgm:constr type="w" for="ch" forName="cycle_5" refType="w" fact="0.33"/>
              <dgm:constr type="h" for="ch" forName="cycle_5" refType="w" refFor="ch" refForName="cycle_5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userS" for="des" ptType="node" refType="w" refFor="ch" refForName="textCenter" fact="0.67"/>
            </dgm:constrLst>
          </dgm:if>
          <dgm:if name="Name36" axis="ch ch" ptType="node node" func="cnt" op="equ" val="6">
            <dgm:constrLst>
              <dgm:constr type="ctrX" for="ch" forName="textCenter" refType="w" fact="0.5"/>
              <dgm:constr type="ctrY" for="ch" forName="textCenter" refType="h" fact="0.5"/>
              <dgm:constr type="w" for="ch" forName="textCenter" refType="w" fact="0.2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33"/>
              <dgm:constr type="h" for="ch" forName="cycle_1" refType="w" refFor="ch" refForName="cycle_1"/>
              <dgm:constr type="l" for="ch" forName="cycle_2"/>
              <dgm:constr type="t" for="ch" forName="cycle_2" refType="h" fact="0.17"/>
              <dgm:constr type="w" for="ch" forName="cycle_2" refType="w" fact="0.33"/>
              <dgm:constr type="h" for="ch" forName="cycle_2" refType="w" refFor="ch" refForName="cycle_2"/>
              <dgm:constr type="l" for="ch" forName="cycle_3"/>
              <dgm:constr type="b" for="ch" forName="cycle_3" refType="h" fact="0.83"/>
              <dgm:constr type="w" for="ch" forName="cycle_3" refType="w" fact="0.33"/>
              <dgm:constr type="h" for="ch" forName="cycle_3" refType="w" refFor="ch" refForName="cycle_3"/>
              <dgm:constr type="ctrX" for="ch" forName="cycle_4" refType="w" fact="0.5"/>
              <dgm:constr type="b" for="ch" forName="cycle_4" refType="h"/>
              <dgm:constr type="w" for="ch" forName="cycle_4" refType="w" fact="0.33"/>
              <dgm:constr type="h" for="ch" forName="cycle_4" refType="w" refFor="ch" refForName="cycle_4"/>
              <dgm:constr type="r" for="ch" forName="cycle_5" refType="w"/>
              <dgm:constr type="b" for="ch" forName="cycle_5" refType="h" fact="0.83"/>
              <dgm:constr type="w" for="ch" forName="cycle_5" refType="w" fact="0.33"/>
              <dgm:constr type="h" for="ch" forName="cycle_5" refType="w" refFor="ch" refForName="cycle_5"/>
              <dgm:constr type="r" for="ch" forName="cycle_6" refType="w"/>
              <dgm:constr type="t" for="ch" forName="cycle_6" refType="h" fact="0.17"/>
              <dgm:constr type="w" for="ch" forName="cycle_6" refType="w" fact="0.33"/>
              <dgm:constr type="h" for="ch" forName="cycle_6" refType="w" refFor="ch" refForName="cycle_6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userS" for="des" ptType="node" refType="w" refFor="ch" refForName="textCenter" fact="0.67"/>
            </dgm:constrLst>
          </dgm:if>
          <dgm:else name="Name37">
            <dgm:constrLst>
              <dgm:constr type="ctrX" for="ch" forName="textCenter" refType="w" fact="0.5"/>
              <dgm:constr type="t" for="ch" forName="textCenter" refType="h" fact="0.444"/>
              <dgm:constr type="w" for="ch" forName="textCenter" refType="w" fact="0.167"/>
              <dgm:constr type="h" for="ch" forName="textCenter" refType="w" refFor="ch" refForName="textCenter"/>
              <dgm:constr type="ctrX" for="ch" forName="cycle_1" refType="w" fact="0.5"/>
              <dgm:constr type="t" for="ch" forName="cycle_1"/>
              <dgm:constr type="w" for="ch" forName="cycle_1" refType="w" fact="0.263"/>
              <dgm:constr type="h" for="ch" forName="cycle_1" refType="w" refFor="ch" refForName="cycle_1"/>
              <dgm:constr type="l" for="ch" forName="cycle_2" refType="w" fact="0.062"/>
              <dgm:constr type="t" for="ch" forName="cycle_2" refType="h" fact="0.141"/>
              <dgm:constr type="w" for="ch" forName="cycle_2" refType="w" fact="0.263"/>
              <dgm:constr type="h" for="ch" forName="cycle_2" refType="w" refFor="ch" refForName="cycle_2"/>
              <dgm:constr type="l" for="ch" forName="cycle_3"/>
              <dgm:constr type="b" for="ch" forName="cycle_3" refType="h" fact="0.74"/>
              <dgm:constr type="w" for="ch" forName="cycle_3" refType="w" fact="0.263"/>
              <dgm:constr type="h" for="ch" forName="cycle_3" refType="w" refFor="ch" refForName="cycle_3"/>
              <dgm:constr type="l" for="ch" forName="cycle_4" refType="w" fact="0.2"/>
              <dgm:constr type="b" for="ch" forName="cycle_4" refType="h"/>
              <dgm:constr type="w" for="ch" forName="cycle_4" refType="w" fact="0.263"/>
              <dgm:constr type="h" for="ch" forName="cycle_4" refType="w" refFor="ch" refForName="cycle_4"/>
              <dgm:constr type="r" for="ch" forName="cycle_5" refType="w" fact="0.8"/>
              <dgm:constr type="b" for="ch" forName="cycle_5" refType="h"/>
              <dgm:constr type="w" for="ch" forName="cycle_5" refType="w" fact="0.263"/>
              <dgm:constr type="h" for="ch" forName="cycle_5" refType="w" refFor="ch" refForName="cycle_5"/>
              <dgm:constr type="r" for="ch" forName="cycle_6" refType="w"/>
              <dgm:constr type="b" for="ch" forName="cycle_6" refType="h" fact="0.74"/>
              <dgm:constr type="w" for="ch" forName="cycle_6" refType="w" fact="0.263"/>
              <dgm:constr type="h" for="ch" forName="cycle_6" refType="w" refFor="ch" refForName="cycle_6"/>
              <dgm:constr type="r" for="ch" forName="cycle_7" refType="w" fact="0.938"/>
              <dgm:constr type="t" for="ch" forName="cycle_7" refType="h" fact="0.141"/>
              <dgm:constr type="w" for="ch" forName="cycle_7" refType="w" fact="0.263"/>
              <dgm:constr type="h" for="ch" forName="cycle_7" refType="w" refFor="ch" refForName="cycle_7"/>
              <dgm:constr type="primFontSz" for="ch" forName="textCenter" val="65"/>
              <dgm:constr type="primFontSz" for="des" forName="childCenter1" val="65"/>
              <dgm:constr type="primFontSz" for="des" forName="text1" op="equ" val="65"/>
              <dgm:constr type="primFontSz" for="des" forName="childCenter2" refType="primFontSz" refFor="des" refForName="childCenter1" op="equ"/>
              <dgm:constr type="primFontSz" for="des" forName="text2" refType="primFontSz" refFor="des" refForName="text1" op="equ"/>
              <dgm:constr type="primFontSz" for="des" forName="childCenter3" refType="primFontSz" refFor="des" refForName="childCenter1" op="equ"/>
              <dgm:constr type="primFontSz" for="des" forName="text3" refType="primFontSz" refFor="des" refForName="text1" op="equ"/>
              <dgm:constr type="primFontSz" for="des" forName="childCenter4" refType="primFontSz" refFor="des" refForName="childCenter1" op="equ"/>
              <dgm:constr type="primFontSz" for="des" forName="text4" refType="primFontSz" refFor="des" refForName="text1" op="equ"/>
              <dgm:constr type="primFontSz" for="des" forName="childCenter5" refType="primFontSz" refFor="des" refForName="childCenter1" op="equ"/>
              <dgm:constr type="primFontSz" for="des" forName="text5" refType="primFontSz" refFor="des" refForName="text1" op="equ"/>
              <dgm:constr type="primFontSz" for="des" forName="childCenter6" refType="primFontSz" refFor="des" refForName="childCenter1" op="equ"/>
              <dgm:constr type="primFontSz" for="des" forName="text6" refType="primFontSz" refFor="des" refForName="text1" op="equ"/>
              <dgm:constr type="primFontSz" for="des" forName="childCenter7" refType="primFontSz" refFor="des" refForName="childCenter1" op="equ"/>
              <dgm:constr type="primFontSz" for="des" forName="text7" refType="primFontSz" refFor="des" refForName="text1" op="equ"/>
              <dgm:constr type="userS" for="des" ptType="node" refType="w" refFor="ch" refForName="textCenter" fact="0.67"/>
            </dgm:constrLst>
          </dgm:else>
        </dgm:choose>
      </dgm:else>
    </dgm:choose>
    <dgm:forEach name="Name38" axis="ch" ptType="node" cnt="1">
      <dgm:choose name="Name39">
        <dgm:if name="Name40" axis="des" func="maxDepth" op="lte" val="1">
          <dgm:layoutNode name="singleCycle">
            <dgm:choose name="Name41">
              <dgm:if name="Name42" axis="ch" ptType="node" func="cnt" op="equ" val="1">
                <dgm:choose name="Name43">
                  <dgm:if name="Name44" func="var" arg="dir" op="equ" val="norm">
                    <dgm:alg type="cycle">
                      <dgm:param type="stAng" val="90"/>
                      <dgm:param type="ctrShpMap" val="fNode"/>
                    </dgm:alg>
                  </dgm:if>
                  <dgm:else name="Name45">
                    <dgm:alg type="cycle">
                      <dgm:param type="stAng" val="-90"/>
                      <dgm:param type="spanAng" val="-360"/>
                      <dgm:param type="ctrShpMap" val="fNode"/>
                    </dgm:alg>
                  </dgm:else>
                </dgm:choose>
              </dgm:if>
              <dgm:else name="Name46">
                <dgm:choose name="Name47">
                  <dgm:if name="Name48" func="var" arg="dir" op="equ" val="norm">
                    <dgm:alg type="cycle">
                      <dgm:param type="ctrShpMap" val="fNode"/>
                    </dgm:alg>
                  </dgm:if>
                  <dgm:else name="Name49">
                    <dgm:alg type="cycle">
                      <dgm:param type="spanAng" val="-360"/>
                      <dgm:param type="ctrShpMap" val="fNode"/>
                    </dgm:alg>
                  </dgm:else>
                </dgm:choose>
              </dgm:else>
            </dgm:choose>
            <dgm:shape xmlns:r="http://schemas.openxmlformats.org/officeDocument/2006/relationships" r:blip="">
              <dgm:adjLst/>
            </dgm:shape>
            <dgm:presOf/>
            <dgm:choose name="Name50">
              <dgm:if name="Name51" axis="ch" ptType="node" func="cnt" op="equ" val="0">
                <dgm:constrLst>
                  <dgm:constr type="w" for="ch" forName="singleCenter" refType="w"/>
                  <dgm:constr type="h" for="ch" forName="singleCenter" refType="w" refFor="ch" refForName="singleCenter"/>
                </dgm:constrLst>
              </dgm:if>
              <dgm:if name="Name52" axis="ch" ptType="node" func="cnt" op="equ" val="1">
                <dgm:constrLst>
                  <dgm:constr type="w" for="ch" forName="singleCenter" refType="w" fact="0.5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if>
              <dgm:else name="Name53">
                <dgm:constrLst>
                  <dgm:constr type="w" for="ch" forName="singleCenter" refType="w" fact="0.3"/>
                  <dgm:constr type="h" for="ch" forName="singleCenter" refType="w" refFor="ch" refForName="singleCenter"/>
                  <dgm:constr type="userS" for="ch" ptType="node" refType="w" refFor="ch" refForName="singleCenter" fact="0.67"/>
                </dgm:constrLst>
              </dgm:else>
            </dgm:choose>
            <dgm:layoutNode name="singleCenter" styleLbl="node1">
              <dgm:varLst>
                <dgm:chMax val="7"/>
                <dgm:chPref val="7"/>
              </dgm:varLst>
              <dgm:alg type="tx"/>
              <dgm:shape xmlns:r="http://schemas.openxmlformats.org/officeDocument/2006/relationships" type="roundRect" r:blip="">
                <dgm:adjLst/>
              </dgm:shape>
              <dgm:presOf axis="self" ptType="node"/>
              <dgm:constrLst>
                <dgm:constr type="tMarg" refType="primFontSz" fact="0.2"/>
                <dgm:constr type="bMarg" refType="primFontSz" fact="0.2"/>
                <dgm:constr type="lMarg" refType="primFontSz" fact="0.2"/>
                <dgm:constr type="rMarg" refType="primFontSz" fact="0.2"/>
              </dgm:constrLst>
              <dgm:ruleLst>
                <dgm:rule type="primFontSz" val="5" fact="NaN" max="NaN"/>
              </dgm:ruleLst>
            </dgm:layoutNode>
            <dgm:forEach name="Name54" axis="ch" cnt="21">
              <dgm:forEach name="Name55" axis="self" ptType="parTrans">
                <dgm:layoutNode name="Name56">
                  <dgm:alg type="conn">
                    <dgm:param type="dim" val="1D"/>
                    <dgm:param type="begPts" val="auto"/>
                    <dgm:param type="endPts" val="auto"/>
                    <dgm:param type="begSty" val="noArr"/>
                    <dgm:param type="endSty" val="noArr"/>
                  </dgm:alg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begPad"/>
                    <dgm:constr type="endPad"/>
                  </dgm:constrLst>
                </dgm:layoutNode>
              </dgm:forEach>
              <dgm:forEach name="Name57" axis="self" ptType="node">
                <dgm:layoutNode name="text0" styleLbl="node1">
                  <dgm:varLst>
                    <dgm:bulletEnabled val="1"/>
                  </dgm:varLst>
                  <dgm:alg type="tx"/>
                  <dgm:shape xmlns:r="http://schemas.openxmlformats.org/officeDocument/2006/relationships" type="roundRect" r:blip="">
                    <dgm:adjLst/>
                  </dgm:shape>
                  <dgm:presOf axis="desOrSelf" ptType="node"/>
                  <dgm:constrLst>
                    <dgm:constr type="userS"/>
                    <dgm:constr type="w" refType="userS"/>
                    <dgm:constr type="h" refType="w"/>
                    <dgm:constr type="tMarg" refType="primFontSz" fact="0.2"/>
                    <dgm:constr type="bMarg" refType="primFontSz" fact="0.2"/>
                    <dgm:constr type="lMarg" refType="primFontSz" fact="0.2"/>
                    <dgm:constr type="rMarg" refType="primFontSz" fact="0.2"/>
                  </dgm:constrLst>
                  <dgm:ruleLst>
                    <dgm:rule type="primFontSz" val="5" fact="NaN" max="NaN"/>
                  </dgm:ruleLst>
                </dgm:layoutNode>
              </dgm:forEach>
            </dgm:forEach>
          </dgm:layoutNode>
        </dgm:if>
        <dgm:else name="Name58">
          <dgm:layoutNode name="textCenter" styleLbl="node1">
            <dgm:alg type="tx"/>
            <dgm:shape xmlns:r="http://schemas.openxmlformats.org/officeDocument/2006/relationships" type="roundRect" r:blip="">
              <dgm:adjLst/>
            </dgm:shape>
            <dgm:presOf axis="self" ptType="node"/>
            <dgm:constrLst>
              <dgm:constr type="tMarg" refType="primFontSz" fact="0.2"/>
              <dgm:constr type="bMarg" refType="primFontSz" fact="0.2"/>
              <dgm:constr type="lMarg" refType="primFontSz" fact="0.2"/>
              <dgm:constr type="rMarg" refType="primFontSz" fact="0.2"/>
            </dgm:constrLst>
            <dgm:ruleLst>
              <dgm:rule type="primFontSz" val="5" fact="NaN" max="NaN"/>
            </dgm:ruleLst>
          </dgm:layoutNode>
          <dgm:choose name="Name59">
            <dgm:if name="Name60" axis="ch" ptType="node" func="cnt" op="gte" val="1">
              <dgm:layoutNode name="cycle_1">
                <dgm:choose name="Name61">
                  <dgm:if name="Name62" func="var" arg="dir" op="equ" val="norm">
                    <dgm:choose name="Name63">
                      <dgm:if name="Name64" axis="ch" ptType="node" func="cnt" op="equ" val="1">
                        <dgm:choose name="Name65">
                          <dgm:if name="Name66" axis="ch ch" ptType="node node" st="1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67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68">
                            <dgm:alg type="cycle">
                              <dgm:param type="ctrShpMap" val="fNode"/>
                              <dgm:param type="stAng" val="0"/>
                              <dgm:param type="spanAng" val="180"/>
                            </dgm:alg>
                          </dgm:else>
                        </dgm:choose>
                      </dgm:if>
                      <dgm:if name="Name69" axis="ch" ptType="node" func="cnt" op="equ" val="2">
                        <dgm:choose name="Name70">
                          <dgm:if name="Name7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3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4" axis="ch" ptType="node" func="cnt" op="equ" val="3">
                        <dgm:choose name="Name75">
                          <dgm:if name="Name7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7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78">
                            <dgm:alg type="cycle">
                              <dgm:param type="ctrShpMap" val="fNode"/>
                              <dgm:param type="stAng" val="270"/>
                              <dgm:param type="spanAng" val="180"/>
                            </dgm:alg>
                          </dgm:else>
                        </dgm:choose>
                      </dgm:if>
                      <dgm:if name="Name79" axis="ch" ptType="node" func="cnt" op="equ" val="4">
                        <dgm:choose name="Name80">
                          <dgm:if name="Name8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3">
                            <dgm:alg type="cycle">
                              <dgm:param type="ctrShpMap" val="fNode"/>
                              <dgm:param type="stAng" val="292.5"/>
                              <dgm:param type="spanAng" val="135"/>
                            </dgm:alg>
                          </dgm:else>
                        </dgm:choose>
                      </dgm:if>
                      <dgm:if name="Name84" axis="ch" ptType="node" func="cnt" op="equ" val="5">
                        <dgm:choose name="Name85">
                          <dgm:if name="Name8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8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8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89" axis="ch" ptType="node" func="cnt" op="equ" val="6">
                        <dgm:choose name="Name90">
                          <dgm:if name="Name91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2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94" axis="ch" ptType="node" func="cnt" op="gte" val="7">
                        <dgm:choose name="Name95">
                          <dgm:if name="Name96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97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90"/>
                            </dgm:alg>
                          </dgm:if>
                          <dgm:else name="Name9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99"/>
                    </dgm:choose>
                  </dgm:if>
                  <dgm:else name="Name100">
                    <dgm:choose name="Name101">
                      <dgm:if name="Name102" axis="ch" ptType="node" func="cnt" op="equ" val="1">
                        <dgm:choose name="Name103">
                          <dgm:if name="Name104" axis="ch ch" ptType="node node" st="1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05" axis="ch ch" ptType="node node" st="1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06">
                            <dgm:alg type="cycle">
                              <dgm:param type="ctrShpMap" val="fNode"/>
                              <dgm:param type="stAng" val="0"/>
                              <dgm:param type="spanAng" val="-180"/>
                            </dgm:alg>
                          </dgm:else>
                        </dgm:choose>
                      </dgm:if>
                      <dgm:if name="Name107" axis="ch" ptType="node" func="cnt" op="equ" val="2">
                        <dgm:choose name="Name108">
                          <dgm:if name="Name10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1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2" axis="ch" ptType="node" func="cnt" op="equ" val="3">
                        <dgm:choose name="Name113">
                          <dgm:if name="Name11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1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16">
                            <dgm:alg type="cycle">
                              <dgm:param type="ctrShpMap" val="fNode"/>
                              <dgm:param type="stAng" val="90"/>
                              <dgm:param type="spanAng" val="-180"/>
                            </dgm:alg>
                          </dgm:else>
                        </dgm:choose>
                      </dgm:if>
                      <dgm:if name="Name117" axis="ch" ptType="node" func="cnt" op="equ" val="4">
                        <dgm:choose name="Name118">
                          <dgm:if name="Name11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1">
                            <dgm:alg type="cycle">
                              <dgm:param type="ctrShpMap" val="fNode"/>
                              <dgm:param type="stAng" val="67.5"/>
                              <dgm:param type="spanAng" val="-135"/>
                            </dgm:alg>
                          </dgm:else>
                        </dgm:choose>
                      </dgm:if>
                      <dgm:if name="Name122" axis="ch" ptType="node" func="cnt" op="equ" val="5">
                        <dgm:choose name="Name123">
                          <dgm:if name="Name12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2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2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27" axis="ch" ptType="node" func="cnt" op="equ" val="6">
                        <dgm:choose name="Name128">
                          <dgm:if name="Name129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0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132" axis="ch" ptType="node" func="cnt" op="gte" val="7">
                        <dgm:choose name="Name133">
                          <dgm:if name="Name134" axis="ch ch" ptType="node node" st="1 1" cnt="1 0" func="cnt" op="equ" val="1">
                            <dgm:alg type="cycle">
                              <dgm:param type="ctrShpMap" val="fNode"/>
                              <dgm:param type="stAng" val="0"/>
                            </dgm:alg>
                          </dgm:if>
                          <dgm:if name="Name135" axis="ch ch" ptType="node node" st="1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-90"/>
                            </dgm:alg>
                          </dgm:if>
                          <dgm:else name="Name13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137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138" axis="ch" ptType="node" cnt="1">
                  <dgm:layoutNode name="childCenter1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139" axis="ch">
                    <dgm:forEach name="Name140" axis="self" ptType="parTrans">
                      <dgm:layoutNode name="Name141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142" axis="self" ptType="node">
                      <dgm:layoutNode name="text1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143" axis="ch" ptType="parTrans" cnt="1">
                <dgm:layoutNode name="Name144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1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145"/>
          </dgm:choose>
          <dgm:choose name="Name146">
            <dgm:if name="Name147" axis="ch" ptType="node" func="cnt" op="gte" val="2">
              <dgm:layoutNode name="cycle_2">
                <dgm:choose name="Name148">
                  <dgm:if name="Name149" func="var" arg="dir" op="equ" val="norm">
                    <dgm:choose name="Name150">
                      <dgm:if name="Name151" axis="ch" ptType="node" func="cnt" op="equ" val="2">
                        <dgm:choose name="Name152">
                          <dgm:if name="Name153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54" axis="ch ch" ptType="node node" st="2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155">
                            <dgm:alg type="cycle">
                              <dgm:param type="ctrShpMap" val="fNode"/>
                              <dgm:param type="stAng" val="90"/>
                              <dgm:param type="spanAng" val="180"/>
                            </dgm:alg>
                          </dgm:else>
                        </dgm:choose>
                      </dgm:if>
                      <dgm:if name="Name156" axis="ch" ptType="node" func="cnt" op="equ" val="3">
                        <dgm:choose name="Name157">
                          <dgm:if name="Name158" axis="ch ch" ptType="node node" st="2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159" axis="ch ch" ptType="node node" st="2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  <dgm:param type="horzAlign" val="r"/>
                              <dgm:param type="vertAlign" val="b"/>
                            </dgm:alg>
                          </dgm:if>
                          <dgm:else name="Name160">
                            <dgm:alg type="cycle">
                              <dgm:param type="ctrShpMap" val="fNode"/>
                              <dgm:param type="stAng" val="30"/>
                              <dgm:param type="spanAng" val="180"/>
                            </dgm:alg>
                          </dgm:else>
                        </dgm:choose>
                      </dgm:if>
                      <dgm:if name="Name161" axis="ch" ptType="node" func="cnt" op="equ" val="4">
                        <dgm:choose name="Name162">
                          <dgm:if name="Name163" axis="ch ch" ptType="node node" st="2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164" axis="ch ch" ptType="node node" st="2 1" cnt="1 0" func="cnt" op="equ" val="2">
                            <dgm:alg type="cycle">
                              <dgm:param type="ctrShpMap" val="fNode"/>
                              <dgm:param type="stAng" val="45"/>
                              <dgm:param type="spanAng" val="90"/>
                            </dgm:alg>
                          </dgm:if>
                          <dgm:else name="Name165">
                            <dgm:alg type="cycle">
                              <dgm:param type="ctrShpMap" val="fNode"/>
                              <dgm:param type="stAng" val="22.5"/>
                              <dgm:param type="spanAng" val="135"/>
                            </dgm:alg>
                          </dgm:else>
                        </dgm:choose>
                      </dgm:if>
                      <dgm:if name="Name166" axis="ch" ptType="node" func="cnt" op="equ" val="5">
                        <dgm:choose name="Name167">
                          <dgm:if name="Name168" axis="ch ch" ptType="node node" st="2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169" axis="ch ch" ptType="node node" st="2 1" cnt="1 0" func="cnt" op="equ" val="2">
                            <dgm:alg type="cycle">
                              <dgm:param type="ctrShpMap" val="fNode"/>
                              <dgm:param type="stAng" val="27"/>
                              <dgm:param type="spanAng" val="90"/>
                            </dgm:alg>
                          </dgm:if>
                          <dgm:else name="Name17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1" axis="ch" ptType="node" func="cnt" op="equ" val="6">
                        <dgm:choose name="Name172">
                          <dgm:if name="Name173" axis="ch ch" ptType="node node" st="2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174" axis="ch ch" ptType="node node" st="2 1" cnt="1 0" func="cnt" op="equ" val="2">
                            <dgm:alg type="cycle">
                              <dgm:param type="ctrShpMap" val="fNode"/>
                              <dgm:param type="stAng" val="15"/>
                              <dgm:param type="spanAng" val="90"/>
                            </dgm:alg>
                          </dgm:if>
                          <dgm:else name="Name175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176" axis="ch" ptType="node" func="cnt" op="gte" val="7">
                        <dgm:choose name="Name177">
                          <dgm:if name="Name178" axis="ch ch" ptType="node node" st="2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179" axis="ch ch" ptType="node node" st="2 1" cnt="1 0" func="cnt" op="equ" val="2">
                            <dgm:alg type="cycle">
                              <dgm:param type="ctrShpMap" val="fNode"/>
                              <dgm:param type="stAng" val="6"/>
                              <dgm:param type="spanAng" val="90"/>
                            </dgm:alg>
                          </dgm:if>
                          <dgm:else name="Name18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181"/>
                    </dgm:choose>
                  </dgm:if>
                  <dgm:else name="Name182">
                    <dgm:choose name="Name183">
                      <dgm:if name="Name184" axis="ch" ptType="node" func="cnt" op="equ" val="2">
                        <dgm:choose name="Name185">
                          <dgm:if name="Name186" axis="ch ch" ptType="node node" st="2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187" axis="ch ch" ptType="node node" st="2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188">
                            <dgm:alg type="cycle">
                              <dgm:param type="ctrShpMap" val="fNode"/>
                              <dgm:param type="stAng" val="270"/>
                              <dgm:param type="spanAng" val="-180"/>
                            </dgm:alg>
                          </dgm:else>
                        </dgm:choose>
                      </dgm:if>
                      <dgm:if name="Name189" axis="ch" ptType="node" func="cnt" op="equ" val="3">
                        <dgm:choose name="Name190">
                          <dgm:if name="Name191" axis="ch ch" ptType="node node" st="2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192" axis="ch ch" ptType="node node" st="2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  <dgm:param type="horzAlign" val="l"/>
                              <dgm:param type="vertAlign" val="b"/>
                            </dgm:alg>
                          </dgm:if>
                          <dgm:else name="Name193">
                            <dgm:alg type="cycle">
                              <dgm:param type="ctrShpMap" val="fNode"/>
                              <dgm:param type="stAng" val="330"/>
                              <dgm:param type="spanAng" val="-180"/>
                            </dgm:alg>
                          </dgm:else>
                        </dgm:choose>
                      </dgm:if>
                      <dgm:if name="Name194" axis="ch" ptType="node" func="cnt" op="equ" val="4">
                        <dgm:choose name="Name195">
                          <dgm:if name="Name196" axis="ch ch" ptType="node node" st="2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197" axis="ch ch" ptType="node node" st="2 1" cnt="1 0" func="cnt" op="equ" val="2">
                            <dgm:alg type="cycle">
                              <dgm:param type="ctrShpMap" val="fNode"/>
                              <dgm:param type="stAng" val="315"/>
                              <dgm:param type="spanAng" val="-90"/>
                            </dgm:alg>
                          </dgm:if>
                          <dgm:else name="Name198">
                            <dgm:alg type="cycle">
                              <dgm:param type="ctrShpMap" val="fNode"/>
                              <dgm:param type="stAng" val="337.5"/>
                              <dgm:param type="spanAng" val="-135"/>
                            </dgm:alg>
                          </dgm:else>
                        </dgm:choose>
                      </dgm:if>
                      <dgm:if name="Name199" axis="ch" ptType="node" func="cnt" op="equ" val="5">
                        <dgm:choose name="Name200">
                          <dgm:if name="Name201" axis="ch ch" ptType="node node" st="2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202" axis="ch ch" ptType="node node" st="2 1" cnt="1 0" func="cnt" op="equ" val="2">
                            <dgm:alg type="cycle">
                              <dgm:param type="ctrShpMap" val="fNode"/>
                              <dgm:param type="stAng" val="333"/>
                              <dgm:param type="spanAng" val="-90"/>
                            </dgm:alg>
                          </dgm:if>
                          <dgm:else name="Name20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4" axis="ch" ptType="node" func="cnt" op="equ" val="6">
                        <dgm:choose name="Name205">
                          <dgm:if name="Name206" axis="ch ch" ptType="node node" st="2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207" axis="ch ch" ptType="node node" st="2 1" cnt="1 0" func="cnt" op="equ" val="2">
                            <dgm:alg type="cycle">
                              <dgm:param type="ctrShpMap" val="fNode"/>
                              <dgm:param type="stAng" val="345"/>
                              <dgm:param type="spanAng" val="-90"/>
                            </dgm:alg>
                          </dgm:if>
                          <dgm:else name="Name20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09" axis="ch" ptType="node" func="cnt" op="gte" val="7">
                        <dgm:choose name="Name210">
                          <dgm:if name="Name211" axis="ch ch" ptType="node node" st="2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212" axis="ch ch" ptType="node node" st="2 1" cnt="1 0" func="cnt" op="equ" val="2">
                            <dgm:alg type="cycle">
                              <dgm:param type="ctrShpMap" val="fNode"/>
                              <dgm:param type="stAng" val="353"/>
                              <dgm:param type="spanAng" val="-90"/>
                            </dgm:alg>
                          </dgm:if>
                          <dgm:else name="Name213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14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15" axis="ch" ptType="node" st="2" cnt="1">
                  <dgm:layoutNode name="childCenter2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16" axis="ch">
                    <dgm:forEach name="Name217" axis="self" ptType="parTrans">
                      <dgm:layoutNode name="Name218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19" axis="self" ptType="node">
                      <dgm:layoutNode name="text2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20" axis="ch" ptType="parTrans" st="2" cnt="1">
                <dgm:layoutNode name="Name221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2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22"/>
          </dgm:choose>
          <dgm:choose name="Name223">
            <dgm:if name="Name224" axis="ch" ptType="node" func="cnt" op="gte" val="3">
              <dgm:layoutNode name="cycle_3">
                <dgm:choose name="Name225">
                  <dgm:if name="Name226" func="var" arg="dir" op="equ" val="norm">
                    <dgm:choose name="Name227">
                      <dgm:if name="Name228" axis="ch" ptType="node" func="cnt" op="equ" val="3">
                        <dgm:choose name="Name229">
                          <dgm:if name="Name230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  <dgm:param type="horzAlign" val="l"/>
                              <dgm:param type="vertAlign" val="b"/>
                            </dgm:alg>
                          </dgm:if>
                          <dgm:if name="Name231" axis="ch ch" ptType="node node" st="3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  <dgm:param type="horzAlign" val="l"/>
                              <dgm:param type="vertAlign" val="b"/>
                            </dgm:alg>
                          </dgm:if>
                          <dgm:else name="Name232">
                            <dgm:alg type="cycle">
                              <dgm:param type="ctrShpMap" val="fNode"/>
                              <dgm:param type="stAng" val="150"/>
                              <dgm:param type="spanAng" val="180"/>
                            </dgm:alg>
                          </dgm:else>
                        </dgm:choose>
                      </dgm:if>
                      <dgm:if name="Name233" axis="ch" ptType="node" func="cnt" op="equ" val="4">
                        <dgm:choose name="Name234">
                          <dgm:if name="Name235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36" axis="ch ch" ptType="node node" st="3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237">
                            <dgm:alg type="cycle">
                              <dgm:param type="ctrShpMap" val="fNode"/>
                              <dgm:param type="stAng" val="112.5"/>
                              <dgm:param type="spanAng" val="135"/>
                            </dgm:alg>
                          </dgm:else>
                        </dgm:choose>
                      </dgm:if>
                      <dgm:if name="Name238" axis="ch" ptType="node" func="cnt" op="equ" val="5">
                        <dgm:choose name="Name239">
                          <dgm:if name="Name240" axis="ch ch" ptType="node node" st="3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241" axis="ch ch" ptType="node node" st="3 1" cnt="1 0" func="cnt" op="equ" val="2">
                            <dgm:alg type="cycle">
                              <dgm:param type="ctrShpMap" val="fNode"/>
                              <dgm:param type="stAng" val="99"/>
                              <dgm:param type="spanAng" val="90"/>
                            </dgm:alg>
                          </dgm:if>
                          <dgm:else name="Name24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3" axis="ch" ptType="node" func="cnt" op="equ" val="6">
                        <dgm:choose name="Name244">
                          <dgm:if name="Name245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246" axis="ch ch" ptType="node node" st="3 1" cnt="1 0" func="cnt" op="equ" val="2">
                            <dgm:alg type="cycle">
                              <dgm:param type="ctrShpMap" val="fNode"/>
                              <dgm:param type="stAng" val="75"/>
                              <dgm:param type="spanAng" val="90"/>
                            </dgm:alg>
                          </dgm:if>
                          <dgm:else name="Name247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248" axis="ch" ptType="node" func="cnt" op="gte" val="7">
                        <dgm:choose name="Name249">
                          <dgm:if name="Name250" axis="ch ch" ptType="node node" st="3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251" axis="ch ch" ptType="node node" st="3 1" cnt="1 0" func="cnt" op="equ" val="2">
                            <dgm:alg type="cycle">
                              <dgm:param type="ctrShpMap" val="fNode"/>
                              <dgm:param type="stAng" val="57"/>
                              <dgm:param type="spanAng" val="90"/>
                            </dgm:alg>
                          </dgm:if>
                          <dgm:else name="Name252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253"/>
                    </dgm:choose>
                  </dgm:if>
                  <dgm:else name="Name254">
                    <dgm:choose name="Name255">
                      <dgm:if name="Name256" axis="ch" ptType="node" func="cnt" op="equ" val="3">
                        <dgm:choose name="Name257">
                          <dgm:if name="Name258" axis="ch ch" ptType="node node" st="3 1" cnt="1 0" func="cnt" op="equ" val="1">
                            <dgm:alg type="cycle">
                              <dgm:param type="ctrShpMap" val="fNode"/>
                              <dgm:param type="stAng" val="120"/>
                              <dgm:param type="horzAlign" val="r"/>
                              <dgm:param type="vertAlign" val="b"/>
                            </dgm:alg>
                          </dgm:if>
                          <dgm:if name="Name259" axis="ch ch" ptType="node node" st="3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  <dgm:param type="horzAlign" val="r"/>
                              <dgm:param type="vertAlign" val="b"/>
                            </dgm:alg>
                          </dgm:if>
                          <dgm:else name="Name260">
                            <dgm:alg type="cycle">
                              <dgm:param type="ctrShpMap" val="fNode"/>
                              <dgm:param type="stAng" val="210"/>
                              <dgm:param type="spanAng" val="-180"/>
                            </dgm:alg>
                          </dgm:else>
                        </dgm:choose>
                      </dgm:if>
                      <dgm:if name="Name261" axis="ch" ptType="node" func="cnt" op="equ" val="4">
                        <dgm:choose name="Name262">
                          <dgm:if name="Name263" axis="ch ch" ptType="node node" st="3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264" axis="ch ch" ptType="node node" st="3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265">
                            <dgm:alg type="cycle">
                              <dgm:param type="ctrShpMap" val="fNode"/>
                              <dgm:param type="stAng" val="247.5"/>
                              <dgm:param type="spanAng" val="-135"/>
                            </dgm:alg>
                          </dgm:else>
                        </dgm:choose>
                      </dgm:if>
                      <dgm:if name="Name266" axis="ch" ptType="node" func="cnt" op="equ" val="5">
                        <dgm:choose name="Name267">
                          <dgm:if name="Name268" axis="ch ch" ptType="node node" st="3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269" axis="ch ch" ptType="node node" st="3 1" cnt="1 0" func="cnt" op="equ" val="2">
                            <dgm:alg type="cycle">
                              <dgm:param type="ctrShpMap" val="fNode"/>
                              <dgm:param type="stAng" val="261"/>
                              <dgm:param type="spanAng" val="-90"/>
                            </dgm:alg>
                          </dgm:if>
                          <dgm:else name="Name27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1" axis="ch" ptType="node" func="cnt" op="equ" val="6">
                        <dgm:choose name="Name272">
                          <dgm:if name="Name273" axis="ch ch" ptType="node node" st="3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274" axis="ch ch" ptType="node node" st="3 1" cnt="1 0" func="cnt" op="equ" val="2">
                            <dgm:alg type="cycle">
                              <dgm:param type="ctrShpMap" val="fNode"/>
                              <dgm:param type="stAng" val="285"/>
                              <dgm:param type="spanAng" val="-90"/>
                            </dgm:alg>
                          </dgm:if>
                          <dgm:else name="Name275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276" axis="ch" ptType="node" func="cnt" op="gte" val="7">
                        <dgm:choose name="Name277">
                          <dgm:if name="Name278" axis="ch ch" ptType="node node" st="3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279" axis="ch ch" ptType="node node" st="3 1" cnt="1 0" func="cnt" op="equ" val="2">
                            <dgm:alg type="cycle">
                              <dgm:param type="ctrShpMap" val="fNode"/>
                              <dgm:param type="stAng" val="302"/>
                              <dgm:param type="spanAng" val="-90"/>
                            </dgm:alg>
                          </dgm:if>
                          <dgm:else name="Name280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281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282" axis="ch" ptType="node" st="3" cnt="1">
                  <dgm:layoutNode name="childCenter3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283" axis="ch">
                    <dgm:forEach name="Name284" axis="self" ptType="parTrans">
                      <dgm:layoutNode name="Name285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286" axis="self" ptType="node">
                      <dgm:layoutNode name="text3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287" axis="ch" ptType="parTrans" st="3" cnt="1">
                <dgm:layoutNode name="Name288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3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289"/>
          </dgm:choose>
          <dgm:choose name="Name290">
            <dgm:if name="Name291" axis="ch" ptType="node" func="cnt" op="gte" val="4">
              <dgm:layoutNode name="cycle_4">
                <dgm:choose name="Name292">
                  <dgm:if name="Name293" func="var" arg="dir" op="equ" val="norm">
                    <dgm:choose name="Name294">
                      <dgm:if name="Name295" axis="ch" ptType="node" func="cnt" op="equ" val="4">
                        <dgm:choose name="Name296">
                          <dgm:if name="Name297" axis="ch ch" ptType="node node" st="4 1" cnt="1 0" func="cnt" op="equ" val="1">
                            <dgm:alg type="cycle">
                              <dgm:param type="ctrShpMap" val="fNode"/>
                              <dgm:param type="stAng" val="270"/>
                            </dgm:alg>
                          </dgm:if>
                          <dgm:if name="Name298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90"/>
                            </dgm:alg>
                          </dgm:if>
                          <dgm:else name="Name299">
                            <dgm:alg type="cycle">
                              <dgm:param type="ctrShpMap" val="fNode"/>
                              <dgm:param type="stAng" val="202.5"/>
                              <dgm:param type="spanAng" val="135"/>
                            </dgm:alg>
                          </dgm:else>
                        </dgm:choose>
                      </dgm:if>
                      <dgm:if name="Name300" axis="ch" ptType="node" func="cnt" op="equ" val="5">
                        <dgm:choose name="Name301">
                          <dgm:if name="Name302" axis="ch ch" ptType="node node" st="4 1" cnt="1 0" func="cnt" op="equ" val="1">
                            <dgm:alg type="cycle">
                              <dgm:param type="ctrShpMap" val="fNode"/>
                              <dgm:param type="stAng" val="216"/>
                            </dgm:alg>
                          </dgm:if>
                          <dgm:if name="Name303" axis="ch ch" ptType="node node" st="4 1" cnt="1 0" func="cnt" op="equ" val="2">
                            <dgm:alg type="cycle">
                              <dgm:param type="ctrShpMap" val="fNode"/>
                              <dgm:param type="stAng" val="171"/>
                              <dgm:param type="spanAng" val="90"/>
                            </dgm:alg>
                          </dgm:if>
                          <dgm:else name="Name30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05" axis="ch" ptType="node" func="cnt" op="equ" val="6">
                        <dgm:choose name="Name306">
                          <dgm:if name="Name307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08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90"/>
                            </dgm:alg>
                          </dgm:if>
                          <dgm:else name="Name309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10" axis="ch" ptType="node" func="cnt" op="gte" val="7">
                        <dgm:choose name="Name311">
                          <dgm:if name="Name312" axis="ch ch" ptType="node node" st="4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13" axis="ch ch" ptType="node node" st="4 1" cnt="1 0" func="cnt" op="equ" val="2">
                            <dgm:alg type="cycle">
                              <dgm:param type="ctrShpMap" val="fNode"/>
                              <dgm:param type="stAng" val="109"/>
                              <dgm:param type="spanAng" val="90"/>
                            </dgm:alg>
                          </dgm:if>
                          <dgm:else name="Name314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15"/>
                    </dgm:choose>
                  </dgm:if>
                  <dgm:else name="Name316">
                    <dgm:choose name="Name317">
                      <dgm:if name="Name318" axis="ch" ptType="node" func="cnt" op="equ" val="4">
                        <dgm:choose name="Name319">
                          <dgm:if name="Name320" axis="ch ch" ptType="node node" st="4 1" cnt="1 0" func="cnt" op="equ" val="1">
                            <dgm:alg type="cycle">
                              <dgm:param type="ctrShpMap" val="fNode"/>
                              <dgm:param type="stAng" val="90"/>
                            </dgm:alg>
                          </dgm:if>
                          <dgm:if name="Name321" axis="ch ch" ptType="node node" st="4 1" cnt="1 0" func="cnt" op="equ" val="2">
                            <dgm:alg type="cycle">
                              <dgm:param type="ctrShpMap" val="fNode"/>
                              <dgm:param type="stAng" val="135"/>
                              <dgm:param type="spanAng" val="-90"/>
                            </dgm:alg>
                          </dgm:if>
                          <dgm:else name="Name322">
                            <dgm:alg type="cycle">
                              <dgm:param type="ctrShpMap" val="fNode"/>
                              <dgm:param type="stAng" val="157.5"/>
                              <dgm:param type="spanAng" val="-135"/>
                            </dgm:alg>
                          </dgm:else>
                        </dgm:choose>
                      </dgm:if>
                      <dgm:if name="Name323" axis="ch" ptType="node" func="cnt" op="equ" val="5">
                        <dgm:choose name="Name324">
                          <dgm:if name="Name325" axis="ch ch" ptType="node node" st="4 1" cnt="1 0" func="cnt" op="equ" val="1">
                            <dgm:alg type="cycle">
                              <dgm:param type="ctrShpMap" val="fNode"/>
                              <dgm:param type="stAng" val="144"/>
                            </dgm:alg>
                          </dgm:if>
                          <dgm:if name="Name326" axis="ch ch" ptType="node node" st="4 1" cnt="1 0" func="cnt" op="equ" val="2">
                            <dgm:alg type="cycle">
                              <dgm:param type="ctrShpMap" val="fNode"/>
                              <dgm:param type="stAng" val="189"/>
                              <dgm:param type="spanAng" val="-90"/>
                            </dgm:alg>
                          </dgm:if>
                          <dgm:else name="Name32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28" axis="ch" ptType="node" func="cnt" op="equ" val="6">
                        <dgm:choose name="Name329">
                          <dgm:if name="Name330" axis="ch ch" ptType="node node" st="4 1" cnt="1 0" func="cnt" op="equ" val="1">
                            <dgm:alg type="cycle">
                              <dgm:param type="ctrShpMap" val="fNode"/>
                              <dgm:param type="stAng" val="180"/>
                            </dgm:alg>
                          </dgm:if>
                          <dgm:if name="Name331" axis="ch ch" ptType="node node" st="4 1" cnt="1 0" func="cnt" op="equ" val="2">
                            <dgm:alg type="cycle">
                              <dgm:param type="ctrShpMap" val="fNode"/>
                              <dgm:param type="stAng" val="225"/>
                              <dgm:param type="spanAng" val="-90"/>
                            </dgm:alg>
                          </dgm:if>
                          <dgm:else name="Name332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33" axis="ch" ptType="node" func="cnt" op="gte" val="7">
                        <dgm:choose name="Name334">
                          <dgm:if name="Name335" axis="ch ch" ptType="node node" st="4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36" axis="ch ch" ptType="node node" st="4 1" cnt="1 0" func="cnt" op="equ" val="2">
                            <dgm:alg type="cycle">
                              <dgm:param type="ctrShpMap" val="fNode"/>
                              <dgm:param type="stAng" val="250"/>
                              <dgm:param type="spanAng" val="-90"/>
                            </dgm:alg>
                          </dgm:if>
                          <dgm:else name="Name337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38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39" axis="ch" ptType="node" st="4" cnt="1">
                  <dgm:layoutNode name="childCenter4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40" axis="ch">
                    <dgm:forEach name="Name341" axis="self" ptType="parTrans">
                      <dgm:layoutNode name="Name342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43" axis="self" ptType="node">
                      <dgm:layoutNode name="text4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44" axis="ch" ptType="parTrans" st="4" cnt="1">
                <dgm:layoutNode name="Name345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4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46"/>
          </dgm:choose>
          <dgm:choose name="Name347">
            <dgm:if name="Name348" axis="ch" ptType="node" func="cnt" op="gte" val="5">
              <dgm:layoutNode name="cycle_5">
                <dgm:choose name="Name349">
                  <dgm:if name="Name350" func="var" arg="dir" op="equ" val="norm">
                    <dgm:choose name="Name351">
                      <dgm:if name="Name352" axis="ch" ptType="node" func="cnt" op="equ" val="5">
                        <dgm:choose name="Name353">
                          <dgm:if name="Name354" axis="ch ch" ptType="node node" st="5 1" cnt="1 0" func="cnt" op="equ" val="1">
                            <dgm:alg type="cycle">
                              <dgm:param type="ctrShpMap" val="fNode"/>
                              <dgm:param type="stAng" val="288"/>
                            </dgm:alg>
                          </dgm:if>
                          <dgm:if name="Name355" axis="ch ch" ptType="node node" st="5 1" cnt="1 0" func="cnt" op="equ" val="2">
                            <dgm:alg type="cycle">
                              <dgm:param type="ctrShpMap" val="fNode"/>
                              <dgm:param type="stAng" val="243"/>
                              <dgm:param type="spanAng" val="90"/>
                            </dgm:alg>
                          </dgm:if>
                          <dgm:else name="Name35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57" axis="ch" ptType="node" func="cnt" op="equ" val="6">
                        <dgm:choose name="Name358">
                          <dgm:if name="Name359" axis="ch ch" ptType="node node" st="5 1" cnt="1 0" func="cnt" op="equ" val="1">
                            <dgm:alg type="cycle">
                              <dgm:param type="ctrShpMap" val="fNode"/>
                              <dgm:param type="stAng" val="240"/>
                            </dgm:alg>
                          </dgm:if>
                          <dgm:if name="Name360" axis="ch ch" ptType="node node" st="5 1" cnt="1 0" func="cnt" op="equ" val="2">
                            <dgm:alg type="cycle">
                              <dgm:param type="ctrShpMap" val="fNode"/>
                              <dgm:param type="stAng" val="195"/>
                              <dgm:param type="spanAng" val="90"/>
                            </dgm:alg>
                          </dgm:if>
                          <dgm:else name="Name361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362" axis="ch" ptType="node" func="cnt" op="gte" val="7">
                        <dgm:choose name="Name363">
                          <dgm:if name="Name364" axis="ch ch" ptType="node node" st="5 1" cnt="1 0" func="cnt" op="equ" val="1">
                            <dgm:alg type="cycle">
                              <dgm:param type="ctrShpMap" val="fNode"/>
                              <dgm:param type="stAng" val="205"/>
                            </dgm:alg>
                          </dgm:if>
                          <dgm:if name="Name365" axis="ch ch" ptType="node node" st="5 1" cnt="1 0" func="cnt" op="equ" val="2">
                            <dgm:alg type="cycle">
                              <dgm:param type="ctrShpMap" val="fNode"/>
                              <dgm:param type="stAng" val="160"/>
                              <dgm:param type="spanAng" val="90"/>
                            </dgm:alg>
                          </dgm:if>
                          <dgm:else name="Name366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367"/>
                    </dgm:choose>
                  </dgm:if>
                  <dgm:else name="Name368">
                    <dgm:choose name="Name369">
                      <dgm:if name="Name370" axis="ch" ptType="node" func="cnt" op="equ" val="5">
                        <dgm:choose name="Name371">
                          <dgm:if name="Name372" axis="ch ch" ptType="node node" st="5 1" cnt="1 0" func="cnt" op="equ" val="1">
                            <dgm:alg type="cycle">
                              <dgm:param type="ctrShpMap" val="fNode"/>
                              <dgm:param type="stAng" val="72"/>
                            </dgm:alg>
                          </dgm:if>
                          <dgm:if name="Name373" axis="ch ch" ptType="node node" st="5 1" cnt="1 0" func="cnt" op="equ" val="2">
                            <dgm:alg type="cycle">
                              <dgm:param type="ctrShpMap" val="fNode"/>
                              <dgm:param type="stAng" val="117"/>
                              <dgm:param type="spanAng" val="-90"/>
                            </dgm:alg>
                          </dgm:if>
                          <dgm:else name="Name37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75" axis="ch" ptType="node" func="cnt" op="equ" val="6">
                        <dgm:choose name="Name376">
                          <dgm:if name="Name377" axis="ch ch" ptType="node node" st="5 1" cnt="1 0" func="cnt" op="equ" val="1">
                            <dgm:alg type="cycle">
                              <dgm:param type="ctrShpMap" val="fNode"/>
                              <dgm:param type="stAng" val="120"/>
                            </dgm:alg>
                          </dgm:if>
                          <dgm:if name="Name378" axis="ch ch" ptType="node node" st="5 1" cnt="1 0" func="cnt" op="equ" val="2">
                            <dgm:alg type="cycle">
                              <dgm:param type="ctrShpMap" val="fNode"/>
                              <dgm:param type="stAng" val="165"/>
                              <dgm:param type="spanAng" val="-90"/>
                            </dgm:alg>
                          </dgm:if>
                          <dgm:else name="Name379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380" axis="ch" ptType="node" func="cnt" op="gte" val="7">
                        <dgm:choose name="Name381">
                          <dgm:if name="Name382" axis="ch ch" ptType="node node" st="5 1" cnt="1 0" func="cnt" op="equ" val="1">
                            <dgm:alg type="cycle">
                              <dgm:param type="ctrShpMap" val="fNode"/>
                              <dgm:param type="stAng" val="154"/>
                            </dgm:alg>
                          </dgm:if>
                          <dgm:if name="Name383" axis="ch ch" ptType="node node" st="5 1" cnt="1 0" func="cnt" op="equ" val="2">
                            <dgm:alg type="cycle">
                              <dgm:param type="ctrShpMap" val="fNode"/>
                              <dgm:param type="stAng" val="199"/>
                              <dgm:param type="spanAng" val="-90"/>
                            </dgm:alg>
                          </dgm:if>
                          <dgm:else name="Name384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385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386" axis="ch" ptType="node" st="5" cnt="1">
                  <dgm:layoutNode name="childCenter5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387" axis="ch">
                    <dgm:forEach name="Name388" axis="self" ptType="parTrans">
                      <dgm:layoutNode name="Name389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390" axis="self" ptType="node">
                      <dgm:layoutNode name="text5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391" axis="ch" ptType="parTrans" st="5" cnt="1">
                <dgm:layoutNode name="Name392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5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393"/>
          </dgm:choose>
          <dgm:choose name="Name394">
            <dgm:if name="Name395" axis="ch" ptType="node" func="cnt" op="gte" val="6">
              <dgm:layoutNode name="cycle_6">
                <dgm:choose name="Name396">
                  <dgm:if name="Name397" func="var" arg="dir" op="equ" val="norm">
                    <dgm:choose name="Name398">
                      <dgm:if name="Name399" axis="ch" ptType="node" func="cnt" op="equ" val="6">
                        <dgm:choose name="Name400">
                          <dgm:if name="Name401" axis="ch ch" ptType="node node" st="6 1" cnt="1 0" func="cnt" op="equ" val="1">
                            <dgm:alg type="cycle">
                              <dgm:param type="ctrShpMap" val="fNode"/>
                              <dgm:param type="stAng" val="300"/>
                            </dgm:alg>
                          </dgm:if>
                          <dgm:if name="Name402" axis="ch ch" ptType="node node" st="6 1" cnt="1 0" func="cnt" op="equ" val="2">
                            <dgm:alg type="cycle">
                              <dgm:param type="ctrShpMap" val="fNode"/>
                              <dgm:param type="stAng" val="255"/>
                              <dgm:param type="spanAng" val="90"/>
                            </dgm:alg>
                          </dgm:if>
                          <dgm:else name="Name403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if name="Name404" axis="ch" ptType="node" func="cnt" op="gte" val="7">
                        <dgm:choose name="Name405">
                          <dgm:if name="Name406" axis="ch ch" ptType="node node" st="6 1" cnt="1 0" func="cnt" op="equ" val="1">
                            <dgm:alg type="cycle">
                              <dgm:param type="ctrShpMap" val="fNode"/>
                              <dgm:param type="stAng" val="257"/>
                            </dgm:alg>
                          </dgm:if>
                          <dgm:if name="Name407" axis="ch ch" ptType="node node" st="6 1" cnt="1 0" func="cnt" op="equ" val="2">
                            <dgm:alg type="cycle">
                              <dgm:param type="ctrShpMap" val="fNode"/>
                              <dgm:param type="stAng" val="212"/>
                              <dgm:param type="spanAng" val="90"/>
                            </dgm:alg>
                          </dgm:if>
                          <dgm:else name="Name408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09"/>
                    </dgm:choose>
                  </dgm:if>
                  <dgm:else name="Name410">
                    <dgm:choose name="Name411">
                      <dgm:if name="Name412" axis="ch" ptType="node" func="cnt" op="equ" val="6">
                        <dgm:choose name="Name413">
                          <dgm:if name="Name414" axis="ch ch" ptType="node node" st="6 1" cnt="1 0" func="cnt" op="equ" val="1">
                            <dgm:alg type="cycle">
                              <dgm:param type="ctrShpMap" val="fNode"/>
                              <dgm:param type="stAng" val="60"/>
                            </dgm:alg>
                          </dgm:if>
                          <dgm:if name="Name415" axis="ch ch" ptType="node node" st="6 1" cnt="1 0" func="cnt" op="equ" val="2">
                            <dgm:alg type="cycle">
                              <dgm:param type="ctrShpMap" val="fNode"/>
                              <dgm:param type="stAng" val="105"/>
                              <dgm:param type="spanAng" val="-90"/>
                            </dgm:alg>
                          </dgm:if>
                          <dgm:else name="Name416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if name="Name417" axis="ch" ptType="node" func="cnt" op="gte" val="7">
                        <dgm:choose name="Name418">
                          <dgm:if name="Name419" axis="ch ch" ptType="node node" st="6 1" cnt="1 0" func="cnt" op="equ" val="1">
                            <dgm:alg type="cycle">
                              <dgm:param type="ctrShpMap" val="fNode"/>
                              <dgm:param type="stAng" val="102"/>
                            </dgm:alg>
                          </dgm:if>
                          <dgm:if name="Name420" axis="ch ch" ptType="node node" st="6 1" cnt="1 0" func="cnt" op="equ" val="2">
                            <dgm:alg type="cycle">
                              <dgm:param type="ctrShpMap" val="fNode"/>
                              <dgm:param type="stAng" val="147"/>
                              <dgm:param type="spanAng" val="-90"/>
                            </dgm:alg>
                          </dgm:if>
                          <dgm:else name="Name421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22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23" axis="ch" ptType="node" st="6" cnt="1">
                  <dgm:layoutNode name="childCenter6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24" axis="ch">
                    <dgm:forEach name="Name425" axis="self" ptType="parTrans">
                      <dgm:layoutNode name="Name426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27" axis="self" ptType="node">
                      <dgm:layoutNode name="text6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28" axis="ch" ptType="parTrans" st="6" cnt="1">
                <dgm:layoutNode name="Name429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6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30"/>
          </dgm:choose>
          <dgm:choose name="Name431">
            <dgm:if name="Name432" axis="ch" ptType="node" func="cnt" op="gte" val="7">
              <dgm:layoutNode name="cycle_7">
                <dgm:choose name="Name433">
                  <dgm:if name="Name434" func="var" arg="dir" op="equ" val="norm">
                    <dgm:choose name="Name435">
                      <dgm:if name="Name436" axis="ch" ptType="node" func="cnt" op="gte" val="7">
                        <dgm:choose name="Name437">
                          <dgm:if name="Name438" axis="ch ch" ptType="node node" st="7 1" cnt="1 0" func="cnt" op="equ" val="1">
                            <dgm:alg type="cycle">
                              <dgm:param type="ctrShpMap" val="fNode"/>
                              <dgm:param type="stAng" val="308"/>
                            </dgm:alg>
                          </dgm:if>
                          <dgm:if name="Name439" axis="ch ch" ptType="node node" st="7 1" cnt="1 0" func="cnt" op="equ" val="2">
                            <dgm:alg type="cycle">
                              <dgm:param type="ctrShpMap" val="fNode"/>
                              <dgm:param type="stAng" val="263"/>
                              <dgm:param type="spanAng" val="90"/>
                            </dgm:alg>
                          </dgm:if>
                          <dgm:else name="Name440">
                            <dgm:alg type="cycle">
                              <dgm:param type="ctrShpMap" val="fNode"/>
                              <dgm:param type="stAng" val="0"/>
                              <dgm:param type="spanAng" val="360"/>
                            </dgm:alg>
                          </dgm:else>
                        </dgm:choose>
                      </dgm:if>
                      <dgm:else name="Name441"/>
                    </dgm:choose>
                  </dgm:if>
                  <dgm:else name="Name442">
                    <dgm:choose name="Name443">
                      <dgm:if name="Name444" axis="ch" ptType="node" func="cnt" op="gte" val="7">
                        <dgm:choose name="Name445">
                          <dgm:if name="Name446" axis="ch ch" ptType="node node" st="7 1" cnt="1 0" func="cnt" op="equ" val="1">
                            <dgm:alg type="cycle">
                              <dgm:param type="ctrShpMap" val="fNode"/>
                              <dgm:param type="stAng" val="51"/>
                            </dgm:alg>
                          </dgm:if>
                          <dgm:if name="Name447" axis="ch ch" ptType="node node" st="7 1" cnt="1 0" func="cnt" op="equ" val="2">
                            <dgm:alg type="cycle">
                              <dgm:param type="ctrShpMap" val="fNode"/>
                              <dgm:param type="stAng" val="96"/>
                              <dgm:param type="spanAng" val="-90"/>
                            </dgm:alg>
                          </dgm:if>
                          <dgm:else name="Name448">
                            <dgm:alg type="cycle">
                              <dgm:param type="ctrShpMap" val="fNode"/>
                              <dgm:param type="stAng" val="0"/>
                              <dgm:param type="spanAng" val="-360"/>
                            </dgm:alg>
                          </dgm:else>
                        </dgm:choose>
                      </dgm:if>
                      <dgm:else name="Name449"/>
                    </dgm:choose>
                  </dgm:else>
                </dgm:choose>
                <dgm:shape xmlns:r="http://schemas.openxmlformats.org/officeDocument/2006/relationships" r:blip="">
                  <dgm:adjLst/>
                </dgm:shape>
                <dgm:presOf/>
                <dgm:constrLst>
                  <dgm:constr type="sp" refType="w" fact="0.1"/>
                  <dgm:constr type="sibSp" refType="w" fact="0.1"/>
                </dgm:constrLst>
                <dgm:forEach name="Name450" axis="ch" ptType="node" st="7" cnt="1">
                  <dgm:layoutNode name="childCenter7" styleLbl="node1">
                    <dgm:alg type="tx"/>
                    <dgm:shape xmlns:r="http://schemas.openxmlformats.org/officeDocument/2006/relationships" type="roundRect" r:blip="">
                      <dgm:adjLst/>
                    </dgm:shape>
                    <dgm:presOf axis="self" ptType="node"/>
                    <dgm:constrLst>
                      <dgm:constr type="userS"/>
                      <dgm:constr type="w" refType="userS"/>
                      <dgm:constr type="h" refType="w"/>
                      <dgm:constr type="tMarg" refType="primFontSz" fact="0.2"/>
                      <dgm:constr type="bMarg" refType="primFontSz" fact="0.2"/>
                      <dgm:constr type="lMarg" refType="primFontSz" fact="0.2"/>
                      <dgm:constr type="rMarg" refType="primFontSz" fact="0.2"/>
                    </dgm:constrLst>
                    <dgm:ruleLst>
                      <dgm:rule type="primFontSz" val="5" fact="NaN" max="NaN"/>
                    </dgm:ruleLst>
                  </dgm:layoutNode>
                  <dgm:forEach name="Name451" axis="ch">
                    <dgm:forEach name="Name452" axis="self" ptType="parTrans">
                      <dgm:layoutNode name="Name453">
                        <dgm:alg type="conn">
                          <dgm:param type="dim" val="1D"/>
                          <dgm:param type="begPts" val="auto"/>
                          <dgm:param type="endPts" val="auto"/>
                          <dgm:param type="begSty" val="noArr"/>
                          <dgm:param type="endSty" val="noArr"/>
                        </dgm:alg>
                        <dgm:shape xmlns:r="http://schemas.openxmlformats.org/officeDocument/2006/relationships" type="conn" r:blip="">
                          <dgm:adjLst/>
                        </dgm:shape>
                        <dgm:presOf axis="self"/>
                        <dgm:constrLst>
                          <dgm:constr type="begPad"/>
                          <dgm:constr type="endPad"/>
                        </dgm:constrLst>
                      </dgm:layoutNode>
                    </dgm:forEach>
                    <dgm:forEach name="Name454" axis="self" ptType="node">
                      <dgm:layoutNode name="text7" styleLbl="node1">
                        <dgm:varLst>
                          <dgm:bulletEnabled val="1"/>
                        </dgm:varLst>
                        <dgm:alg type="tx"/>
                        <dgm:shape xmlns:r="http://schemas.openxmlformats.org/officeDocument/2006/relationships" type="roundRect" r:blip="">
                          <dgm:adjLst/>
                        </dgm:shape>
                        <dgm:presOf axis="desOrSelf" ptType="node"/>
                        <dgm:constrLst>
                          <dgm:constr type="userS"/>
                          <dgm:constr type="w" refType="userS"/>
                          <dgm:constr type="h" refType="w"/>
                          <dgm:constr type="tMarg" refType="primFontSz" fact="0.2"/>
                          <dgm:constr type="bMarg" refType="primFontSz" fact="0.2"/>
                          <dgm:constr type="lMarg" refType="primFontSz" fact="0.2"/>
                          <dgm:constr type="rMarg" refType="primFontSz" fact="0.2"/>
                        </dgm:constrLst>
                        <dgm:ruleLst>
                          <dgm:rule type="primFontSz" val="5" fact="NaN" max="NaN"/>
                        </dgm:ruleLst>
                      </dgm:layoutNode>
                    </dgm:forEach>
                  </dgm:forEach>
                </dgm:forEach>
              </dgm:layoutNode>
              <dgm:forEach name="Name455" axis="ch" ptType="parTrans" st="7" cnt="1">
                <dgm:layoutNode name="Name456">
                  <dgm:alg type="conn">
                    <dgm:param type="dim" val="1D"/>
                    <dgm:param type="begPts" val="auto"/>
                    <dgm:param type="endPts" val="auto"/>
                    <dgm:param type="endSty" val="noArr"/>
                    <dgm:param type="srcNode" val="textCenter"/>
                    <dgm:param type="dstNode" val="childCenter7"/>
                  </dgm:alg>
                  <dgm:shape xmlns:r="http://schemas.openxmlformats.org/officeDocument/2006/relationships" type="conn" r:blip="" zOrderOff="-999">
                    <dgm:adjLst/>
                  </dgm:shape>
                  <dgm:presOf axis="self"/>
                  <dgm:constrLst>
                    <dgm:constr type="h"/>
                    <dgm:constr type="begPad"/>
                    <dgm:constr type="endPad"/>
                  </dgm:constrLst>
                </dgm:layoutNode>
              </dgm:forEach>
            </dgm:if>
            <dgm:else name="Name457"/>
          </dgm:choos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1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54" y="1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DBBD73-E4CC-42B4-8760-C7A6DA9651D3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8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1" y="9428589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54" y="9428589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5B8AA7D-009C-4288-8275-80E3A0FAE515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467242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9449573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6623694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574933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482954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2107564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9288580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1303439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379655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7557850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5288510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5B8AA7D-009C-4288-8275-80E3A0FAE515}" type="slidenum">
              <a:rPr lang="ru-RU" smtClean="0"/>
              <a:pPr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8800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4694707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212775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5317399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59631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6742842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22072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7310409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990847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29668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7915287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4105958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B514B1B-E283-4780-95B8-46AB4F44E471}" type="datetimeFigureOut">
              <a:rPr lang="ru-RU" smtClean="0"/>
              <a:pPr/>
              <a:t>23.04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F14DE7-7E30-4447-9A53-6BC50590330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363626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3.jpeg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jpeg"/><Relationship Id="rId3" Type="http://schemas.openxmlformats.org/officeDocument/2006/relationships/image" Target="../media/image30.jpg"/><Relationship Id="rId7" Type="http://schemas.openxmlformats.org/officeDocument/2006/relationships/image" Target="../media/image4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31.jpg"/><Relationship Id="rId11" Type="http://schemas.openxmlformats.org/officeDocument/2006/relationships/image" Target="../media/image34.png"/><Relationship Id="rId5" Type="http://schemas.openxmlformats.org/officeDocument/2006/relationships/image" Target="../media/image1.jpeg"/><Relationship Id="rId10" Type="http://schemas.openxmlformats.org/officeDocument/2006/relationships/image" Target="../media/image33.jpeg"/><Relationship Id="rId4" Type="http://schemas.openxmlformats.org/officeDocument/2006/relationships/image" Target="../media/image2.png"/><Relationship Id="rId9" Type="http://schemas.openxmlformats.org/officeDocument/2006/relationships/image" Target="../media/image25.jp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0.jpg"/><Relationship Id="rId7" Type="http://schemas.openxmlformats.org/officeDocument/2006/relationships/image" Target="../media/image14.jpeg"/><Relationship Id="rId2" Type="http://schemas.openxmlformats.org/officeDocument/2006/relationships/image" Target="../media/image35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7.png"/><Relationship Id="rId5" Type="http://schemas.openxmlformats.org/officeDocument/2006/relationships/image" Target="../media/image1.jpeg"/><Relationship Id="rId10" Type="http://schemas.openxmlformats.org/officeDocument/2006/relationships/image" Target="../media/image38.jpeg"/><Relationship Id="rId4" Type="http://schemas.openxmlformats.org/officeDocument/2006/relationships/image" Target="../media/image2.png"/><Relationship Id="rId9" Type="http://schemas.openxmlformats.org/officeDocument/2006/relationships/image" Target="../media/image3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2.png"/><Relationship Id="rId3" Type="http://schemas.openxmlformats.org/officeDocument/2006/relationships/image" Target="../media/image1.jpeg"/><Relationship Id="rId7" Type="http://schemas.openxmlformats.org/officeDocument/2006/relationships/image" Target="../media/image4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0.png"/><Relationship Id="rId5" Type="http://schemas.openxmlformats.org/officeDocument/2006/relationships/image" Target="../media/image39.png"/><Relationship Id="rId4" Type="http://schemas.openxmlformats.org/officeDocument/2006/relationships/image" Target="../media/image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43.png"/><Relationship Id="rId4" Type="http://schemas.openxmlformats.org/officeDocument/2006/relationships/image" Target="../media/image2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2.png"/><Relationship Id="rId7" Type="http://schemas.openxmlformats.org/officeDocument/2006/relationships/image" Target="../media/image47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4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jpeg"/><Relationship Id="rId3" Type="http://schemas.openxmlformats.org/officeDocument/2006/relationships/image" Target="../media/image1.jpeg"/><Relationship Id="rId7" Type="http://schemas.openxmlformats.org/officeDocument/2006/relationships/image" Target="../media/image52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1.jpeg"/><Relationship Id="rId5" Type="http://schemas.openxmlformats.org/officeDocument/2006/relationships/image" Target="../media/image50.jpeg"/><Relationship Id="rId4" Type="http://schemas.openxmlformats.org/officeDocument/2006/relationships/image" Target="../media/image2.png"/><Relationship Id="rId9" Type="http://schemas.openxmlformats.org/officeDocument/2006/relationships/image" Target="../media/image54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1.jpeg"/><Relationship Id="rId7" Type="http://schemas.openxmlformats.org/officeDocument/2006/relationships/diagramColors" Target="../diagrams/colors1.xml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Relationship Id="rId9" Type="http://schemas.openxmlformats.org/officeDocument/2006/relationships/image" Target="../media/image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1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5.jp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.png"/><Relationship Id="rId4" Type="http://schemas.openxmlformats.org/officeDocument/2006/relationships/image" Target="../media/image1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10.tiff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9.tiff"/><Relationship Id="rId5" Type="http://schemas.openxmlformats.org/officeDocument/2006/relationships/image" Target="../media/image8.tiff"/><Relationship Id="rId4" Type="http://schemas.openxmlformats.org/officeDocument/2006/relationships/image" Target="../media/image7.tiff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13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2.png"/><Relationship Id="rId5" Type="http://schemas.openxmlformats.org/officeDocument/2006/relationships/image" Target="../media/image2.png"/><Relationship Id="rId4" Type="http://schemas.openxmlformats.org/officeDocument/2006/relationships/image" Target="../media/image1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14.jpeg"/><Relationship Id="rId7" Type="http://schemas.openxmlformats.org/officeDocument/2006/relationships/image" Target="../media/image16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image" Target="../media/image1.jpeg"/><Relationship Id="rId4" Type="http://schemas.openxmlformats.org/officeDocument/2006/relationships/image" Target="../media/image15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7" Type="http://schemas.openxmlformats.org/officeDocument/2006/relationships/image" Target="../media/image21.jpeg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0.jpeg"/><Relationship Id="rId5" Type="http://schemas.openxmlformats.org/officeDocument/2006/relationships/image" Target="../media/image19.jpg"/><Relationship Id="rId4" Type="http://schemas.openxmlformats.org/officeDocument/2006/relationships/image" Target="../media/image18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jpg"/><Relationship Id="rId3" Type="http://schemas.openxmlformats.org/officeDocument/2006/relationships/image" Target="../media/image22.png"/><Relationship Id="rId7" Type="http://schemas.openxmlformats.org/officeDocument/2006/relationships/image" Target="../media/image24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eg"/><Relationship Id="rId11" Type="http://schemas.openxmlformats.org/officeDocument/2006/relationships/image" Target="../media/image28.png"/><Relationship Id="rId5" Type="http://schemas.openxmlformats.org/officeDocument/2006/relationships/image" Target="../media/image2.png"/><Relationship Id="rId10" Type="http://schemas.openxmlformats.org/officeDocument/2006/relationships/image" Target="../media/image27.png"/><Relationship Id="rId4" Type="http://schemas.openxmlformats.org/officeDocument/2006/relationships/image" Target="../media/image23.jpeg"/><Relationship Id="rId9" Type="http://schemas.openxmlformats.org/officeDocument/2006/relationships/image" Target="../media/image26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Рисунок 7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858" y="25080"/>
            <a:ext cx="689021" cy="630972"/>
          </a:xfrm>
          <a:prstGeom prst="rect">
            <a:avLst/>
          </a:prstGeom>
        </p:spPr>
      </p:pic>
      <p:sp>
        <p:nvSpPr>
          <p:cNvPr id="23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1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761224" y="1553632"/>
            <a:ext cx="10602096" cy="31700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ервисы цифровой инфраструктуры ЖКХ</a:t>
            </a:r>
            <a:r>
              <a:rPr lang="en-US" sz="4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 </a:t>
            </a:r>
            <a:r>
              <a:rPr lang="ru-RU" sz="4000" b="1" dirty="0">
                <a:solidFill>
                  <a:schemeClr val="accent1">
                    <a:lumMod val="7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граждан</a:t>
            </a:r>
          </a:p>
          <a:p>
            <a:pPr algn="ctr"/>
            <a:endParaRPr lang="ru-RU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endParaRPr lang="ru-RU" sz="40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10" name="Рисунок 9" descr="logo_new.jpg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388684" y="3053021"/>
            <a:ext cx="1314292" cy="16707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2556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081285" y="1570493"/>
            <a:ext cx="6577314" cy="4881450"/>
          </a:xfrm>
          <a:prstGeom prst="rect">
            <a:avLst/>
          </a:prstGeom>
        </p:spPr>
      </p:pic>
      <p:sp>
        <p:nvSpPr>
          <p:cNvPr id="32" name="Скругленный прямоугольник 31"/>
          <p:cNvSpPr/>
          <p:nvPr/>
        </p:nvSpPr>
        <p:spPr>
          <a:xfrm>
            <a:off x="9711145" y="3871664"/>
            <a:ext cx="2430360" cy="1560424"/>
          </a:xfrm>
          <a:prstGeom prst="roundRect">
            <a:avLst/>
          </a:prstGeom>
          <a:solidFill>
            <a:schemeClr val="bg1"/>
          </a:solidFill>
          <a:ln>
            <a:solidFill>
              <a:schemeClr val="bg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матизированный </a:t>
            </a:r>
            <a:b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счет голосов</a:t>
            </a:r>
          </a:p>
        </p:txBody>
      </p:sp>
      <p:pic>
        <p:nvPicPr>
          <p:cNvPr id="34" name="Рисунок 3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97278" y="2687551"/>
            <a:ext cx="2029905" cy="1623924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10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cxnSp>
        <p:nvCxnSpPr>
          <p:cNvPr id="28" name="Прямая соединительная линия 27"/>
          <p:cNvCxnSpPr/>
          <p:nvPr/>
        </p:nvCxnSpPr>
        <p:spPr>
          <a:xfrm flipV="1">
            <a:off x="4225790" y="3863782"/>
            <a:ext cx="767559" cy="788094"/>
          </a:xfrm>
          <a:prstGeom prst="line">
            <a:avLst/>
          </a:prstGeom>
          <a:ln w="1905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Стрелка вниз 30"/>
          <p:cNvSpPr/>
          <p:nvPr/>
        </p:nvSpPr>
        <p:spPr>
          <a:xfrm rot="16200000">
            <a:off x="9699701" y="3857329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24134" y="927071"/>
            <a:ext cx="268558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3. Участие в ОСС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2524512" y="700962"/>
            <a:ext cx="81720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ТЕХНИЧЕСКАЯ РЕАЛИЗАЦИЯ ПРОВЕДЕНИЯ СОБРАНИЙ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9599" t="35566" r="34057" b="10225"/>
          <a:stretch/>
        </p:blipFill>
        <p:spPr>
          <a:xfrm>
            <a:off x="5005458" y="1828205"/>
            <a:ext cx="4608277" cy="307238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8880247" y="4243447"/>
            <a:ext cx="370304" cy="363974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992" t="56749" r="37878" b="36064"/>
          <a:stretch/>
        </p:blipFill>
        <p:spPr>
          <a:xfrm>
            <a:off x="8896554" y="3674644"/>
            <a:ext cx="353683" cy="439947"/>
          </a:xfrm>
          <a:prstGeom prst="rect">
            <a:avLst/>
          </a:prstGeom>
          <a:ln>
            <a:noFill/>
          </a:ln>
        </p:spPr>
      </p:pic>
      <p:pic>
        <p:nvPicPr>
          <p:cNvPr id="36" name="Рисунок 3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6504" y="3732944"/>
            <a:ext cx="1015286" cy="813815"/>
          </a:xfrm>
          <a:prstGeom prst="rect">
            <a:avLst/>
          </a:prstGeom>
        </p:spPr>
      </p:pic>
      <p:pic>
        <p:nvPicPr>
          <p:cNvPr id="38" name="Рисунок 37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4785" y="1910430"/>
            <a:ext cx="2244281" cy="1375577"/>
          </a:xfrm>
          <a:prstGeom prst="rect">
            <a:avLst/>
          </a:prstGeom>
        </p:spPr>
      </p:pic>
      <p:pic>
        <p:nvPicPr>
          <p:cNvPr id="42" name="Рисунок 4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317" y="5139046"/>
            <a:ext cx="1503689" cy="828448"/>
          </a:xfrm>
          <a:prstGeom prst="rect">
            <a:avLst/>
          </a:prstGeom>
        </p:spPr>
      </p:pic>
      <p:sp>
        <p:nvSpPr>
          <p:cNvPr id="48" name="Стрелка вниз 47"/>
          <p:cNvSpPr/>
          <p:nvPr/>
        </p:nvSpPr>
        <p:spPr>
          <a:xfrm rot="16200000">
            <a:off x="2534429" y="3785275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/>
          <p:cNvSpPr/>
          <p:nvPr/>
        </p:nvSpPr>
        <p:spPr>
          <a:xfrm>
            <a:off x="130296" y="1832042"/>
            <a:ext cx="2421061" cy="1532355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9" name="Прямоугольник 48"/>
          <p:cNvSpPr/>
          <p:nvPr/>
        </p:nvSpPr>
        <p:spPr>
          <a:xfrm>
            <a:off x="450318" y="3662625"/>
            <a:ext cx="1413994" cy="954454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33962" y="4926792"/>
            <a:ext cx="1736397" cy="1252955"/>
          </a:xfrm>
          <a:prstGeom prst="rect">
            <a:avLst/>
          </a:prstGeom>
          <a:noFill/>
          <a:ln w="381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7" name="Рисунок 36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7561671" y="2957030"/>
            <a:ext cx="370304" cy="363974"/>
          </a:xfrm>
          <a:prstGeom prst="rect">
            <a:avLst/>
          </a:prstGeom>
        </p:spPr>
      </p:pic>
      <p:pic>
        <p:nvPicPr>
          <p:cNvPr id="39" name="Рисунок 38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8073067" y="3644389"/>
            <a:ext cx="370304" cy="363974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3462000" y="4651876"/>
            <a:ext cx="1469921" cy="1713755"/>
          </a:xfrm>
          <a:prstGeom prst="rect">
            <a:avLst/>
          </a:prstGeom>
          <a:noFill/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" name="Рисунок 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80247" y="3662625"/>
            <a:ext cx="450448" cy="5077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774637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7222" y="4765469"/>
            <a:ext cx="1543824" cy="1763699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9383" y="1904699"/>
            <a:ext cx="2043186" cy="1634549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11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226260" y="988907"/>
            <a:ext cx="39698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4. Итог </a:t>
            </a: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78881" y="1197974"/>
            <a:ext cx="2143125" cy="2143125"/>
          </a:xfrm>
          <a:prstGeom prst="rect">
            <a:avLst/>
          </a:prstGeom>
        </p:spPr>
      </p:pic>
      <p:sp>
        <p:nvSpPr>
          <p:cNvPr id="15" name="Скругленный прямоугольник 14"/>
          <p:cNvSpPr/>
          <p:nvPr/>
        </p:nvSpPr>
        <p:spPr>
          <a:xfrm>
            <a:off x="3383619" y="3387478"/>
            <a:ext cx="2471835" cy="2074028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отокол ОСС </a:t>
            </a:r>
            <a:b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ЕИАС ЖКХ формируется в автоматизированном режиме и хранится </a:t>
            </a:r>
            <a:b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системе</a:t>
            </a:r>
          </a:p>
        </p:txBody>
      </p:sp>
      <p:sp>
        <p:nvSpPr>
          <p:cNvPr id="17" name="Стрелка вниз 16"/>
          <p:cNvSpPr/>
          <p:nvPr/>
        </p:nvSpPr>
        <p:spPr>
          <a:xfrm rot="16200000">
            <a:off x="267362" y="2807405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кругленный прямоугольник 24"/>
          <p:cNvSpPr/>
          <p:nvPr/>
        </p:nvSpPr>
        <p:spPr>
          <a:xfrm>
            <a:off x="316446" y="3453938"/>
            <a:ext cx="2746257" cy="1414002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втоматизированный подсчет голосов (ОМСУ, УК)</a:t>
            </a:r>
          </a:p>
        </p:txBody>
      </p:sp>
      <p:sp>
        <p:nvSpPr>
          <p:cNvPr id="26" name="Стрелка вниз 25"/>
          <p:cNvSpPr/>
          <p:nvPr/>
        </p:nvSpPr>
        <p:spPr>
          <a:xfrm rot="16200000">
            <a:off x="2851984" y="2867310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561897" y="1661352"/>
            <a:ext cx="1749147" cy="1824943"/>
          </a:xfrm>
          <a:prstGeom prst="rect">
            <a:avLst/>
          </a:prstGeom>
        </p:spPr>
      </p:pic>
      <p:sp>
        <p:nvSpPr>
          <p:cNvPr id="29" name="TextBox 28"/>
          <p:cNvSpPr txBox="1"/>
          <p:nvPr/>
        </p:nvSpPr>
        <p:spPr>
          <a:xfrm>
            <a:off x="6251833" y="1156178"/>
            <a:ext cx="289331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гласно </a:t>
            </a:r>
            <a:r>
              <a:rPr lang="ru-RU" sz="1600" b="1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ункту 1.1 статьи 46 ЖК РФ </a:t>
            </a:r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длинники протокола направляются </a:t>
            </a:r>
            <a:b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i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орган государственного жилищного надзора</a:t>
            </a: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9047407" y="3606225"/>
            <a:ext cx="2552816" cy="1028576"/>
          </a:xfrm>
          <a:prstGeom prst="roundRect">
            <a:avLst/>
          </a:prstGeom>
          <a:solidFill>
            <a:schemeClr val="bg1"/>
          </a:solidFill>
          <a:ln>
            <a:solidFill>
              <a:schemeClr val="tx1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сжилинспекция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осковской области</a:t>
            </a: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38753" y="2487795"/>
            <a:ext cx="2868700" cy="2438400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2379606" y="694882"/>
            <a:ext cx="820653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ТЕХНИЧЕСКАЯ РЕАЛИЗАЦИЯ ПРОВЕДЕНИЯ СОБРАНИЙ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226260" y="5795682"/>
            <a:ext cx="10330962" cy="407804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ru-RU" sz="205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БЫЛО</a:t>
            </a:r>
            <a:r>
              <a:rPr lang="ru-RU" sz="2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– от 30 до 60 дней                                            </a:t>
            </a:r>
            <a:r>
              <a:rPr lang="ru-RU" sz="2050" b="1" dirty="0">
                <a:solidFill>
                  <a:schemeClr val="accent6">
                    <a:lumMod val="75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ТАЛО</a:t>
            </a:r>
            <a:r>
              <a:rPr lang="ru-RU" sz="205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– 18 дней  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260" y="5504463"/>
            <a:ext cx="880975" cy="1055908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22006" y="5515514"/>
            <a:ext cx="1434027" cy="104485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5998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2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1816791" y="870899"/>
            <a:ext cx="9073816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ПРОСЫ В ОТКРЫТОЙ ЧАСТИ ПОРТАЛА ЕИАС ЖКХ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11" name="Группа 10">
            <a:extLst>
              <a:ext uri="{FF2B5EF4-FFF2-40B4-BE49-F238E27FC236}">
                <a16:creationId xmlns="" xmlns:a16="http://schemas.microsoft.com/office/drawing/2014/main" id="{F3B1397C-673F-B44C-B188-320D89FEEC4F}"/>
              </a:ext>
            </a:extLst>
          </p:cNvPr>
          <p:cNvGrpSpPr/>
          <p:nvPr/>
        </p:nvGrpSpPr>
        <p:grpSpPr>
          <a:xfrm>
            <a:off x="431515" y="1396127"/>
            <a:ext cx="11128504" cy="5226140"/>
            <a:chOff x="588701" y="859107"/>
            <a:chExt cx="11303358" cy="5488390"/>
          </a:xfrm>
        </p:grpSpPr>
        <p:pic>
          <p:nvPicPr>
            <p:cNvPr id="13" name="Рисунок 12">
              <a:extLst>
                <a:ext uri="{FF2B5EF4-FFF2-40B4-BE49-F238E27FC236}">
                  <a16:creationId xmlns="" xmlns:a16="http://schemas.microsoft.com/office/drawing/2014/main" id="{3B0884DC-BF6C-0044-A3ED-962F73BAE77B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8701" y="4713777"/>
              <a:ext cx="7372902" cy="1633720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4" name="Рисунок 13">
              <a:extLst>
                <a:ext uri="{FF2B5EF4-FFF2-40B4-BE49-F238E27FC236}">
                  <a16:creationId xmlns="" xmlns:a16="http://schemas.microsoft.com/office/drawing/2014/main" id="{EF6B9F69-12C0-5F40-8E96-1031CC59329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588701" y="4227445"/>
              <a:ext cx="11303358" cy="551584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  <p:pic>
          <p:nvPicPr>
            <p:cNvPr id="16" name="Рисунок 15">
              <a:extLst>
                <a:ext uri="{FF2B5EF4-FFF2-40B4-BE49-F238E27FC236}">
                  <a16:creationId xmlns="" xmlns:a16="http://schemas.microsoft.com/office/drawing/2014/main" id="{0FE54BB4-C6BC-E848-92A8-DD56518888E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588701" y="859107"/>
              <a:ext cx="8117977" cy="3368338"/>
            </a:xfrm>
            <a:prstGeom prst="rect">
              <a:avLst/>
            </a:prstGeom>
            <a:ln>
              <a:solidFill>
                <a:schemeClr val="tx1"/>
              </a:solidFill>
            </a:ln>
          </p:spPr>
        </p:pic>
      </p:grp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8"/>
          <a:srcRect l="28019" t="10188" r="31580" b="18142"/>
          <a:stretch/>
        </p:blipFill>
        <p:spPr>
          <a:xfrm>
            <a:off x="6795576" y="1857562"/>
            <a:ext cx="4925683" cy="4915065"/>
          </a:xfrm>
          <a:prstGeom prst="rect">
            <a:avLst/>
          </a:prstGeom>
          <a:ln>
            <a:solidFill>
              <a:schemeClr val="tx1"/>
            </a:solidFill>
          </a:ln>
        </p:spPr>
      </p:pic>
    </p:spTree>
    <p:extLst>
      <p:ext uri="{BB962C8B-B14F-4D97-AF65-F5344CB8AC3E}">
        <p14:creationId xmlns:p14="http://schemas.microsoft.com/office/powerpoint/2010/main" val="1695580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pic>
        <p:nvPicPr>
          <p:cNvPr id="45" name="Рисунок 44" descr="011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249252" y="1203473"/>
            <a:ext cx="1941566" cy="154622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3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7888182" y="1709651"/>
            <a:ext cx="430381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ГОЛОСОВАНИЯ/ОПРОСЫ</a:t>
            </a:r>
          </a:p>
          <a:p>
            <a:pPr algn="ctr"/>
            <a:r>
              <a:rPr lang="ru-RU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в открытой части портала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5" name="Прямоугольник 14"/>
          <p:cNvSpPr/>
          <p:nvPr/>
        </p:nvSpPr>
        <p:spPr>
          <a:xfrm>
            <a:off x="3323571" y="788246"/>
            <a:ext cx="56557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РИОРИТЕТНЫЕ ТЕМАТИКИ 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2139204" y="1624877"/>
            <a:ext cx="3525715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БЩИЕ СОБРАНИЯ СОБСТВЕННИКОВ 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1220" y="1312900"/>
            <a:ext cx="2230661" cy="1857400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62371" y="3184162"/>
            <a:ext cx="5197041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е по выбору управляющей организации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е по выбору совета МКД и председателя Совета МКД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е по проведению текущего ремонта общего имущества в МКД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тверждение плана работ на текущий год </a:t>
            </a:r>
            <a:b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МКД.</a:t>
            </a:r>
          </a:p>
        </p:txBody>
      </p:sp>
      <p:sp>
        <p:nvSpPr>
          <p:cNvPr id="17" name="Прямоугольник 16"/>
          <p:cNvSpPr/>
          <p:nvPr/>
        </p:nvSpPr>
        <p:spPr>
          <a:xfrm>
            <a:off x="6784237" y="3063768"/>
            <a:ext cx="5189228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е по вопросам качества оказания жилищно-коммунальных услуг: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одоснабжение и водоотведение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борка и вывоз мусора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борка подъездов в домах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Качество обслуживания в РКЦ и УК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Доступность дистанционных сервисов  обслуживания;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ценка состояния дома и придомовой территории.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285750" indent="-285750">
              <a:buFont typeface="Wingdings" panose="05000000000000000000" pitchFamily="2" charset="2"/>
              <a:buChar char="ü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" name="Стрелка вниз 2"/>
          <p:cNvSpPr/>
          <p:nvPr/>
        </p:nvSpPr>
        <p:spPr>
          <a:xfrm>
            <a:off x="2590384" y="5734672"/>
            <a:ext cx="512747" cy="38456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1278604" y="6165503"/>
            <a:ext cx="364905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ОМСУ - участники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и </a:t>
            </a:r>
            <a:r>
              <a:rPr lang="en-US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II 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этапов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8" name="Стрелка вниз 17"/>
          <p:cNvSpPr/>
          <p:nvPr/>
        </p:nvSpPr>
        <p:spPr>
          <a:xfrm>
            <a:off x="8984795" y="5736688"/>
            <a:ext cx="512747" cy="384561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TextBox 21"/>
          <p:cNvSpPr txBox="1"/>
          <p:nvPr/>
        </p:nvSpPr>
        <p:spPr>
          <a:xfrm>
            <a:off x="8544459" y="6243350"/>
            <a:ext cx="145278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Все ОМСУ</a:t>
            </a:r>
            <a:endParaRPr lang="ru-RU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287371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4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1154378" y="781589"/>
            <a:ext cx="1073484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ВОЗМОЖНОСТЬ ПУБЛИКАЦИИ НОВОСТЕЙ И УВЕДОМЛЕНИЙ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="" xmlns:a16="http://schemas.microsoft.com/office/drawing/2014/main" id="{8400DFA7-B5C5-9145-A9C5-D0ED7316393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2730" y="2215529"/>
            <a:ext cx="6253210" cy="44808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F145616-0B69-984A-BB2D-170AE3DA956A}"/>
              </a:ext>
            </a:extLst>
          </p:cNvPr>
          <p:cNvSpPr txBox="1"/>
          <p:nvPr/>
        </p:nvSpPr>
        <p:spPr>
          <a:xfrm>
            <a:off x="2771342" y="4644089"/>
            <a:ext cx="3664598" cy="1200329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ru-RU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убликация возможна как для жильцов отдельного дома, </a:t>
            </a:r>
            <a:br>
              <a:rPr lang="ru-RU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</a:br>
            <a:r>
              <a:rPr lang="ru-RU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так и для неограниченного круга лиц района (города)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="" xmlns:a16="http://schemas.microsoft.com/office/drawing/2014/main" id="{F42E14BB-A136-FC46-BA01-1FA41EC53A78}"/>
              </a:ext>
            </a:extLst>
          </p:cNvPr>
          <p:cNvCxnSpPr>
            <a:cxnSpLocks/>
          </p:cNvCxnSpPr>
          <p:nvPr/>
        </p:nvCxnSpPr>
        <p:spPr>
          <a:xfrm flipH="1">
            <a:off x="3343213" y="5844418"/>
            <a:ext cx="331972" cy="619737"/>
          </a:xfrm>
          <a:prstGeom prst="straightConnector1">
            <a:avLst/>
          </a:prstGeom>
          <a:ln>
            <a:solidFill>
              <a:srgbClr val="D53B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>
            <a:extLst>
              <a:ext uri="{FF2B5EF4-FFF2-40B4-BE49-F238E27FC236}">
                <a16:creationId xmlns="" xmlns:a16="http://schemas.microsoft.com/office/drawing/2014/main" id="{00C2F12C-7180-4B43-907A-972E38462063}"/>
              </a:ext>
            </a:extLst>
          </p:cNvPr>
          <p:cNvSpPr txBox="1"/>
          <p:nvPr/>
        </p:nvSpPr>
        <p:spPr>
          <a:xfrm>
            <a:off x="91153" y="1161752"/>
            <a:ext cx="64306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Личный кабинет гражданина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 flipV="1">
            <a:off x="6555444" y="1312751"/>
            <a:ext cx="9054" cy="5383666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00C2F12C-7180-4B43-907A-972E38462063}"/>
              </a:ext>
            </a:extLst>
          </p:cNvPr>
          <p:cNvSpPr txBox="1"/>
          <p:nvPr/>
        </p:nvSpPr>
        <p:spPr>
          <a:xfrm>
            <a:off x="7184745" y="1177188"/>
            <a:ext cx="444944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ортал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684001" y="1717103"/>
            <a:ext cx="5450939" cy="4817732"/>
          </a:xfrm>
          <a:prstGeom prst="rect">
            <a:avLst/>
          </a:prstGeom>
        </p:spPr>
      </p:pic>
      <p:sp>
        <p:nvSpPr>
          <p:cNvPr id="2" name="Овал 1"/>
          <p:cNvSpPr/>
          <p:nvPr/>
        </p:nvSpPr>
        <p:spPr>
          <a:xfrm>
            <a:off x="63226" y="2488224"/>
            <a:ext cx="870438" cy="395728"/>
          </a:xfrm>
          <a:prstGeom prst="ellipse">
            <a:avLst/>
          </a:prstGeom>
          <a:noFill/>
          <a:ln w="57150">
            <a:solidFill>
              <a:srgbClr val="E8123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b="1" dirty="0"/>
          </a:p>
        </p:txBody>
      </p:sp>
      <p:sp>
        <p:nvSpPr>
          <p:cNvPr id="17" name="TextBox 16">
            <a:extLst>
              <a:ext uri="{FF2B5EF4-FFF2-40B4-BE49-F238E27FC236}">
                <a16:creationId xmlns="" xmlns:a16="http://schemas.microsoft.com/office/drawing/2014/main" id="{00C2F12C-7180-4B43-907A-972E38462063}"/>
              </a:ext>
            </a:extLst>
          </p:cNvPr>
          <p:cNvSpPr txBox="1"/>
          <p:nvPr/>
        </p:nvSpPr>
        <p:spPr>
          <a:xfrm>
            <a:off x="91153" y="1686488"/>
            <a:ext cx="41235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ведомление о новостных публикациях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083618" y="1623417"/>
            <a:ext cx="642565" cy="592112"/>
          </a:xfrm>
          <a:prstGeom prst="rect">
            <a:avLst/>
          </a:prstGeom>
        </p:spPr>
      </p:pic>
      <p:pic>
        <p:nvPicPr>
          <p:cNvPr id="25" name="Рисунок 2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82957" y="1593318"/>
            <a:ext cx="641444" cy="641444"/>
          </a:xfrm>
          <a:prstGeom prst="rect">
            <a:avLst/>
          </a:prstGeom>
        </p:spPr>
      </p:pic>
      <p:pic>
        <p:nvPicPr>
          <p:cNvPr id="26" name="Рисунок 25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07195" y="1574687"/>
            <a:ext cx="958585" cy="6787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2218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5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-8921" y="793681"/>
            <a:ext cx="1201921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СОЗДАН ФОРУМ ДЛЯ ОБЩЕНИЯ МЕЖДУ СОСЕДЯМИ </a:t>
            </a:r>
            <a:b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</a:br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И ОБСУЖДЕНИЯ НАСУЩНЫХ ПРОБЛЕМ И ВОПРОСОВ</a:t>
            </a:r>
            <a:endParaRPr lang="ru-RU" sz="20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>
            <a:extLst>
              <a:ext uri="{FF2B5EF4-FFF2-40B4-BE49-F238E27FC236}">
                <a16:creationId xmlns="" xmlns:a16="http://schemas.microsoft.com/office/drawing/2014/main" id="{DD55A219-3EB7-4B4A-92BD-1E38DAF0AFCF}"/>
              </a:ext>
            </a:extLst>
          </p:cNvPr>
          <p:cNvPicPr/>
          <p:nvPr/>
        </p:nvPicPr>
        <p:blipFill>
          <a:blip r:embed="rId4"/>
          <a:stretch>
            <a:fillRect/>
          </a:stretch>
        </p:blipFill>
        <p:spPr>
          <a:xfrm>
            <a:off x="1524001" y="1648817"/>
            <a:ext cx="8552154" cy="4886018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="" xmlns:a16="http://schemas.microsoft.com/office/drawing/2014/main" id="{9602E372-CA9D-8E44-8848-C75E2C8A99B8}"/>
              </a:ext>
            </a:extLst>
          </p:cNvPr>
          <p:cNvSpPr txBox="1"/>
          <p:nvPr/>
        </p:nvSpPr>
        <p:spPr>
          <a:xfrm>
            <a:off x="1054217" y="4993402"/>
            <a:ext cx="2017986" cy="369332"/>
          </a:xfrm>
          <a:prstGeom prst="rect">
            <a:avLst/>
          </a:prstGeom>
          <a:noFill/>
          <a:ln w="38100">
            <a:solidFill>
              <a:srgbClr val="C00000"/>
            </a:solidFill>
          </a:ln>
        </p:spPr>
        <p:txBody>
          <a:bodyPr wrap="square" rtlCol="0">
            <a:spAutoFit/>
          </a:bodyPr>
          <a:lstStyle/>
          <a:p>
            <a:endParaRPr lang="ru-RU" dirty="0"/>
          </a:p>
        </p:txBody>
      </p:sp>
      <p:sp>
        <p:nvSpPr>
          <p:cNvPr id="8" name="TextBox 7">
            <a:extLst>
              <a:ext uri="{FF2B5EF4-FFF2-40B4-BE49-F238E27FC236}">
                <a16:creationId xmlns="" xmlns:a16="http://schemas.microsoft.com/office/drawing/2014/main" id="{EF145616-0B69-984A-BB2D-170AE3DA956A}"/>
              </a:ext>
            </a:extLst>
          </p:cNvPr>
          <p:cNvSpPr txBox="1"/>
          <p:nvPr/>
        </p:nvSpPr>
        <p:spPr>
          <a:xfrm>
            <a:off x="9012781" y="2479814"/>
            <a:ext cx="29269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На форуме можно напрямую задать вопрос управляющей организации</a:t>
            </a:r>
            <a:endParaRPr lang="ru-RU" sz="16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cxnSp>
        <p:nvCxnSpPr>
          <p:cNvPr id="11" name="Прямая со стрелкой 10">
            <a:extLst>
              <a:ext uri="{FF2B5EF4-FFF2-40B4-BE49-F238E27FC236}">
                <a16:creationId xmlns="" xmlns:a16="http://schemas.microsoft.com/office/drawing/2014/main" id="{F42E14BB-A136-FC46-BA01-1FA41EC53A78}"/>
              </a:ext>
            </a:extLst>
          </p:cNvPr>
          <p:cNvCxnSpPr>
            <a:cxnSpLocks/>
            <a:stCxn id="8" idx="1"/>
          </p:cNvCxnSpPr>
          <p:nvPr/>
        </p:nvCxnSpPr>
        <p:spPr>
          <a:xfrm flipH="1">
            <a:off x="6600497" y="2895313"/>
            <a:ext cx="2412284" cy="0"/>
          </a:xfrm>
          <a:prstGeom prst="straightConnector1">
            <a:avLst/>
          </a:prstGeom>
          <a:ln>
            <a:solidFill>
              <a:srgbClr val="D53B3B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60837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6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859926" y="563352"/>
            <a:ext cx="1075824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ЭТАПЫ РЕАЛИЗАЦИИ ПИЛОТНОГО ПРОЕКТА </a:t>
            </a:r>
          </a:p>
          <a:p>
            <a:pPr algn="ctr"/>
            <a:r>
              <a:rPr lang="ru-RU" sz="2000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О ПЕРЕХОДУ НА ПРОВЕДЕНИЕ </a:t>
            </a:r>
            <a:r>
              <a:rPr lang="ru-RU" sz="2000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СС В ЭЛЕКТРОННОМ </a:t>
            </a:r>
            <a:r>
              <a:rPr lang="ru-RU" sz="2000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ВИДЕ</a:t>
            </a:r>
            <a:endParaRPr lang="ru-RU" sz="2000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14" name="Таблица 13">
            <a:extLst>
              <a:ext uri="{FF2B5EF4-FFF2-40B4-BE49-F238E27FC236}">
                <a16:creationId xmlns="" xmlns:a16="http://schemas.microsoft.com/office/drawing/2014/main" id="{64902B44-B576-4484-B1E5-F74296BAA5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38435938"/>
              </p:ext>
            </p:extLst>
          </p:nvPr>
        </p:nvGraphicFramePr>
        <p:xfrm>
          <a:off x="526474" y="1269970"/>
          <a:ext cx="11091699" cy="552753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960352">
                  <a:extLst>
                    <a:ext uri="{9D8B030D-6E8A-4147-A177-3AD203B41FA5}">
                      <a16:colId xmlns="" xmlns:a16="http://schemas.microsoft.com/office/drawing/2014/main" val="770129020"/>
                    </a:ext>
                  </a:extLst>
                </a:gridCol>
                <a:gridCol w="2221907">
                  <a:extLst>
                    <a:ext uri="{9D8B030D-6E8A-4147-A177-3AD203B41FA5}">
                      <a16:colId xmlns="" xmlns:a16="http://schemas.microsoft.com/office/drawing/2014/main" val="4072966026"/>
                    </a:ext>
                  </a:extLst>
                </a:gridCol>
                <a:gridCol w="2230452"/>
                <a:gridCol w="2854295"/>
                <a:gridCol w="1824693">
                  <a:extLst>
                    <a:ext uri="{9D8B030D-6E8A-4147-A177-3AD203B41FA5}">
                      <a16:colId xmlns="" xmlns:a16="http://schemas.microsoft.com/office/drawing/2014/main" val="2238164425"/>
                    </a:ext>
                  </a:extLst>
                </a:gridCol>
              </a:tblGrid>
              <a:tr h="555186">
                <a:tc>
                  <a:txBody>
                    <a:bodyPr/>
                    <a:lstStyle/>
                    <a:p>
                      <a:pPr algn="ctr"/>
                      <a:r>
                        <a:rPr lang="en-US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lang="ru-RU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этап</a:t>
                      </a:r>
                    </a:p>
                    <a:p>
                      <a:pPr algn="ctr"/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5 ОМСУ)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I </a:t>
                      </a:r>
                      <a:r>
                        <a:rPr lang="ru-RU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этап</a:t>
                      </a:r>
                    </a:p>
                    <a:p>
                      <a:pPr algn="ctr"/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18 ОМСУ)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b="1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en-US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II </a:t>
                      </a:r>
                      <a:r>
                        <a:rPr lang="ru-RU" sz="20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этап</a:t>
                      </a:r>
                    </a:p>
                    <a:p>
                      <a:pPr algn="ctr"/>
                      <a:r>
                        <a:rPr lang="ru-RU" sz="1600" b="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41 ОМСУ)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15945652"/>
                  </a:ext>
                </a:extLst>
              </a:tr>
              <a:tr h="72552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. Балашиха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1. Богородский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 Красногорск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. Пушкинский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.р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, не вошедшие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</a:t>
                      </a:r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 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и</a:t>
                      </a:r>
                      <a:r>
                        <a:rPr lang="en-US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II 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этапы</a:t>
                      </a:r>
                    </a:p>
                    <a:p>
                      <a:pPr algn="ctr"/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33644709"/>
                  </a:ext>
                </a:extLst>
              </a:tr>
              <a:tr h="78879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. Королев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. Долгопрудный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8. Коломенский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4. Раменский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.р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25017152"/>
                  </a:ext>
                </a:extLst>
              </a:tr>
              <a:tr h="71707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 Подольск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3. Домодедов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. Люберцы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5. Сергиево-Посадский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8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63058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Реутов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4.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убна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0. Мытищи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6. Химки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870702046"/>
                  </a:ext>
                </a:extLst>
              </a:tr>
              <a:tr h="73181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ерпухов </a:t>
                      </a:r>
                      <a:r>
                        <a:rPr lang="ru-RU" sz="1800" kern="120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5. Ивантеевка </a:t>
                      </a:r>
                      <a:r>
                        <a:rPr lang="ru-RU" sz="1800" baseline="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1. Одинцовский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7. Щелковский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, 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619685601"/>
                  </a:ext>
                </a:extLst>
              </a:tr>
              <a:tr h="653577"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6. Жуковский </a:t>
                      </a:r>
                      <a:r>
                        <a:rPr lang="ru-RU" sz="1800" baseline="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2. Орехово-Зуево </a:t>
                      </a:r>
                      <a:r>
                        <a:rPr lang="ru-RU" sz="1800" dirty="0" err="1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  <a:endParaRPr lang="ru-RU" sz="1800" kern="12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8. Электросталь </a:t>
                      </a:r>
                      <a:r>
                        <a:rPr lang="ru-RU" sz="18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vMerge="1"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15731665"/>
                  </a:ext>
                </a:extLst>
              </a:tr>
              <a:tr h="438369">
                <a:tc>
                  <a:txBody>
                    <a:bodyPr/>
                    <a:lstStyle/>
                    <a:p>
                      <a:pPr algn="ctr"/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22.04.2019 по 27.05.2019</a:t>
                      </a:r>
                    </a:p>
                  </a:txBody>
                  <a:tcPr marL="19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800" dirty="0" smtClean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 02.09.2019 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 07.10.2019</a:t>
                      </a:r>
                    </a:p>
                  </a:txBody>
                  <a:tcPr marL="55440" marR="19440" anchor="ctr">
                    <a:lnL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6" name="Группа 15">
            <a:extLst>
              <a:ext uri="{FF2B5EF4-FFF2-40B4-BE49-F238E27FC236}">
                <a16:creationId xmlns="" xmlns:a16="http://schemas.microsoft.com/office/drawing/2014/main" id="{7D2F0157-71F8-3D4D-875A-9C27AFCFDFD3}"/>
              </a:ext>
            </a:extLst>
          </p:cNvPr>
          <p:cNvGrpSpPr/>
          <p:nvPr/>
        </p:nvGrpSpPr>
        <p:grpSpPr>
          <a:xfrm>
            <a:off x="1161684" y="6228294"/>
            <a:ext cx="476814" cy="446438"/>
            <a:chOff x="5051058" y="1059160"/>
            <a:chExt cx="388938" cy="361950"/>
          </a:xfrm>
          <a:effectLst/>
        </p:grpSpPr>
        <p:sp>
          <p:nvSpPr>
            <p:cNvPr id="18" name="Rectangle 22">
              <a:extLst>
                <a:ext uri="{FF2B5EF4-FFF2-40B4-BE49-F238E27FC236}">
                  <a16:creationId xmlns="" xmlns:a16="http://schemas.microsoft.com/office/drawing/2014/main" id="{CF85A67C-5ACD-9A4A-A8E9-DEE57969CE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600"/>
            </a:p>
          </p:txBody>
        </p:sp>
        <p:sp>
          <p:nvSpPr>
            <p:cNvPr id="23" name="Freeform 23">
              <a:extLst>
                <a:ext uri="{FF2B5EF4-FFF2-40B4-BE49-F238E27FC236}">
                  <a16:creationId xmlns="" xmlns:a16="http://schemas.microsoft.com/office/drawing/2014/main" id="{01D4705F-C06D-A343-B5EA-83A77773F5FD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600"/>
            </a:p>
          </p:txBody>
        </p:sp>
      </p:grpSp>
    </p:spTree>
    <p:extLst>
      <p:ext uri="{BB962C8B-B14F-4D97-AF65-F5344CB8AC3E}">
        <p14:creationId xmlns:p14="http://schemas.microsoft.com/office/powerpoint/2010/main" val="19907426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7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774660" y="495655"/>
            <a:ext cx="10758247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20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I </a:t>
            </a:r>
            <a:r>
              <a:rPr lang="ru-RU" sz="20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ЭТАП РЕАЛИЗАЦИИ ПИЛОТНОГО ПРОЕКТА </a:t>
            </a:r>
          </a:p>
          <a:p>
            <a:pPr algn="ctr"/>
            <a:r>
              <a:rPr lang="ru-RU" sz="2000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О ПЕРЕХОДУ НА ПРОВЕДЕНИЕ </a:t>
            </a:r>
            <a:r>
              <a:rPr lang="ru-RU" sz="2000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ОСС В ЭЛЕКТРОННОМ </a:t>
            </a:r>
            <a:r>
              <a:rPr lang="ru-RU" sz="2000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ВИДЕ</a:t>
            </a:r>
            <a:endParaRPr lang="ru-RU" sz="2000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18286462"/>
              </p:ext>
            </p:extLst>
          </p:nvPr>
        </p:nvGraphicFramePr>
        <p:xfrm>
          <a:off x="786136" y="1209528"/>
          <a:ext cx="10746771" cy="53061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994026">
                  <a:extLst>
                    <a:ext uri="{9D8B030D-6E8A-4147-A177-3AD203B41FA5}">
                      <a16:colId xmlns="" xmlns:a16="http://schemas.microsoft.com/office/drawing/2014/main" val="20000"/>
                    </a:ext>
                  </a:extLst>
                </a:gridCol>
                <a:gridCol w="2437546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2085653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2599362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2630184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</a:tblGrid>
              <a:tr h="808155">
                <a:tc gridSpan="2">
                  <a:txBody>
                    <a:bodyPr/>
                    <a:lstStyle/>
                    <a:p>
                      <a:pPr algn="ctr" defTabSz="852488"/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ичество пилотных </a:t>
                      </a:r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КД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бщая площадь </a:t>
                      </a:r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КД (</a:t>
                      </a:r>
                      <a:r>
                        <a:rPr lang="ru-RU" sz="2000" dirty="0" err="1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в.м</a:t>
                      </a:r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)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ализованные мероприятия</a:t>
                      </a:r>
                      <a:endParaRPr lang="ru-RU" sz="20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8081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Балашиха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 151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rowSpan="5">
                  <a:txBody>
                    <a:bodyPr/>
                    <a:lstStyle/>
                    <a:p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ведены собрания о </a:t>
                      </a: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ереходе на электронную форму. </a:t>
                      </a:r>
                    </a:p>
                    <a:p>
                      <a:endParaRPr lang="ru-RU" sz="1800" baseline="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токолы</a:t>
                      </a: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собраний </a:t>
                      </a:r>
                      <a:b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правлены </a:t>
                      </a:r>
                      <a:b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ГЖИ МО. </a:t>
                      </a:r>
                    </a:p>
                    <a:p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лее планируются определение тематик, по которым будет проведены собрания посредством </a:t>
                      </a:r>
                      <a:b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ЕИАС ЖКХ.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808155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24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Королев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752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8081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Подольс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3 375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808155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Реуто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3 880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808155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Серпухо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4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9 155</a:t>
                      </a:r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vMerge="1"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  <a:tr h="259811">
                <a:tc gridSpan="2">
                  <a:txBody>
                    <a:bodyPr/>
                    <a:lstStyle/>
                    <a:p>
                      <a:pPr marL="0" algn="r" defTabSz="914400" rtl="0" eaLnBrk="1" latinLnBrk="0" hangingPunct="1"/>
                      <a:r>
                        <a:rPr lang="ru-RU" sz="2400" b="1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того:</a:t>
                      </a:r>
                      <a:endParaRPr lang="ru-RU" sz="2400" b="1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24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2400" b="1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2</a:t>
                      </a:r>
                      <a:endParaRPr lang="ru-RU" sz="2400" b="1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4 313</a:t>
                      </a:r>
                      <a:endParaRPr lang="ru-RU" sz="2400" b="1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endParaRPr lang="ru-RU" sz="24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4" name="Рисунок 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1571" y="2031785"/>
            <a:ext cx="636861" cy="762201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8658" y="4467255"/>
            <a:ext cx="668569" cy="767383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366" y="5317350"/>
            <a:ext cx="636861" cy="738180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0365" y="3652249"/>
            <a:ext cx="659275" cy="791130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3091" y="2876698"/>
            <a:ext cx="594136" cy="7621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8974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-8921" y="38355"/>
            <a:ext cx="260961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3451476" y="-14400"/>
            <a:ext cx="538065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ЕРВЫЕ РЕЗУЛЬТАТЫ ПИЛОТНОГО ПРОЕКТА: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3438472"/>
              </p:ext>
            </p:extLst>
          </p:nvPr>
        </p:nvGraphicFramePr>
        <p:xfrm>
          <a:off x="308484" y="871127"/>
          <a:ext cx="11661844" cy="562367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00675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1145136">
                  <a:extLst>
                    <a:ext uri="{9D8B030D-6E8A-4147-A177-3AD203B41FA5}">
                      <a16:colId xmlns="" xmlns:a16="http://schemas.microsoft.com/office/drawing/2014/main" val="20002"/>
                    </a:ext>
                  </a:extLst>
                </a:gridCol>
                <a:gridCol w="3563597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  <a:gridCol w="3925516">
                  <a:extLst>
                    <a:ext uri="{9D8B030D-6E8A-4147-A177-3AD203B41FA5}">
                      <a16:colId xmlns="" xmlns:a16="http://schemas.microsoft.com/office/drawing/2014/main" val="20004"/>
                    </a:ext>
                  </a:extLst>
                </a:gridCol>
                <a:gridCol w="1626920">
                  <a:extLst>
                    <a:ext uri="{9D8B030D-6E8A-4147-A177-3AD203B41FA5}">
                      <a16:colId xmlns="" xmlns:a16="http://schemas.microsoft.com/office/drawing/2014/main" val="20005"/>
                    </a:ext>
                  </a:extLst>
                </a:gridCol>
              </a:tblGrid>
              <a:tr h="1106368">
                <a:tc>
                  <a:txBody>
                    <a:bodyPr/>
                    <a:lstStyle/>
                    <a:p>
                      <a:pPr algn="ctr" defTabSz="852488"/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Кол-во пилотных </a:t>
                      </a:r>
                      <a:r>
                        <a:rPr lang="ru-RU" sz="16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МКД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аты окончания голосования </a:t>
                      </a:r>
                      <a:b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ЕИАС ЖКХ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опросы,</a:t>
                      </a: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поставленные </a:t>
                      </a:r>
                      <a:b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а голосование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Результат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  <a:tr h="1015087">
                <a:tc>
                  <a:txBody>
                    <a:bodyPr/>
                    <a:lstStyle/>
                    <a:p>
                      <a:pPr marL="0" algn="l" defTabSz="914400" rtl="0" eaLnBrk="1" latinLnBrk="0" hangingPunct="1"/>
                      <a:r>
                        <a:rPr lang="ru-RU" sz="1800" kern="1200" baseline="0" dirty="0" err="1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. Балашиха</a:t>
                      </a:r>
                      <a:endParaRPr lang="ru-RU" sz="1800" kern="1200" baseline="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 ОСС проведены 01.04.1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i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Т КВОРУМА,</a:t>
                      </a:r>
                      <a:r>
                        <a:rPr lang="ru-RU" sz="1600" i="1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инициированы повторные ОСС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збрание совета МКД и председателя совета МКД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1"/>
                  </a:ext>
                </a:extLst>
              </a:tr>
              <a:tr h="708210">
                <a:tc>
                  <a:txBody>
                    <a:bodyPr/>
                    <a:lstStyle/>
                    <a:p>
                      <a:pPr algn="l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</a:t>
                      </a:r>
                      <a:r>
                        <a:rPr lang="ru-RU" sz="18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. Королев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5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rgbClr val="00B050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 ОСС проведены 02.04.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збрание совета МКД и председателя совета МКД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токолы</a:t>
                      </a: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СС опубликованы </a:t>
                      </a:r>
                      <a:b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ЕИАС ЖКХ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2"/>
                  </a:ext>
                </a:extLst>
              </a:tr>
              <a:tr h="760628">
                <a:tc>
                  <a:txBody>
                    <a:bodyPr/>
                    <a:lstStyle/>
                    <a:p>
                      <a:pPr algn="l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Подольск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 ОСС в работе</a:t>
                      </a:r>
                      <a:r>
                        <a:rPr lang="ru-RU" sz="16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600" b="1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6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проведения</a:t>
                      </a:r>
                      <a:r>
                        <a:rPr lang="ru-RU" sz="1600" i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i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600" i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позднее 16.04.19</a:t>
                      </a:r>
                      <a:endParaRPr lang="ru-RU" sz="16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dirty="0">
                          <a:solidFill>
                            <a:srgbClr val="FF0000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b="0" kern="1200" dirty="0">
                          <a:solidFill>
                            <a:srgbClr val="FF000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-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3"/>
                  </a:ext>
                </a:extLst>
              </a:tr>
              <a:tr h="929769">
                <a:tc>
                  <a:txBody>
                    <a:bodyPr/>
                    <a:lstStyle/>
                    <a:p>
                      <a:pPr algn="l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Реуто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rgbClr val="00B050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 ОСС проведены 29.03.19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ведение работы по текущему ремонту и </a:t>
                      </a:r>
                      <a:r>
                        <a:rPr lang="ru-RU" sz="1600" kern="1200" dirty="0" err="1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офинансировании</a:t>
                      </a: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работ по ремонту мест общего пользования</a:t>
                      </a:r>
                      <a:r>
                        <a:rPr lang="ru-RU" sz="1600" kern="1200" baseline="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в МКД;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токолы</a:t>
                      </a: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СС опубликованы </a:t>
                      </a:r>
                      <a:b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ЕИАС ЖКХ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4"/>
                  </a:ext>
                </a:extLst>
              </a:tr>
              <a:tr h="988865">
                <a:tc>
                  <a:txBody>
                    <a:bodyPr/>
                    <a:lstStyle/>
                    <a:p>
                      <a:pPr algn="l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г.о. Серпухов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4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rgbClr val="00B050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ОСС проведены 31.03.19</a:t>
                      </a: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 ОСС в </a:t>
                      </a:r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работе</a:t>
                      </a:r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/>
                      </a:r>
                      <a:b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ru-RU" sz="1600" i="1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срок проведения</a:t>
                      </a:r>
                      <a:r>
                        <a:rPr lang="ru-RU" sz="1600" i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600" i="1" baseline="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- </a:t>
                      </a:r>
                      <a:r>
                        <a:rPr lang="ru-RU" sz="1600" i="1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не позднее 16.04.19</a:t>
                      </a:r>
                      <a:endParaRPr lang="ru-RU" sz="1600" i="1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kern="1200" dirty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ведение в весенне-летний период 2019 года ремонтных работ вентиляционных шахт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ротоколы</a:t>
                      </a: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ОСС опубликованы </a:t>
                      </a:r>
                      <a:b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</a:br>
                      <a:r>
                        <a:rPr lang="ru-RU" sz="1600" baseline="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в ЕИАС ЖКХ</a:t>
                      </a:r>
                      <a:endParaRPr lang="ru-RU" sz="16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=""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8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198975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7" name="Прямоугольник 16"/>
          <p:cNvSpPr/>
          <p:nvPr/>
        </p:nvSpPr>
        <p:spPr>
          <a:xfrm>
            <a:off x="1400091" y="636403"/>
            <a:ext cx="843085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en-US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II</a:t>
            </a:r>
            <a:r>
              <a:rPr lang="ru-RU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 ЭТАП РЕАЛИЗАЦИИ ПИЛОТНОГО </a:t>
            </a:r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РОЕКТА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19</a:t>
            </a:r>
            <a:endParaRPr lang="ru-RU" dirty="0"/>
          </a:p>
        </p:txBody>
      </p:sp>
      <p:sp>
        <p:nvSpPr>
          <p:cNvPr id="9" name="TextBox 8"/>
          <p:cNvSpPr txBox="1"/>
          <p:nvPr/>
        </p:nvSpPr>
        <p:spPr>
          <a:xfrm>
            <a:off x="128187" y="6124151"/>
            <a:ext cx="9477286" cy="64633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wrap="square" rtlCol="0">
            <a:spAutoFit/>
          </a:bodyPr>
          <a:lstStyle/>
          <a:p>
            <a:r>
              <a:rPr lang="ru-RU" b="1" baseline="30000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*</a:t>
            </a:r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Типовая форма ДК по переходу на проведение ОСС в электронном виде направлена в ОМСУ. </a:t>
            </a:r>
          </a:p>
          <a:p>
            <a:r>
              <a:rPr lang="ru-RU" dirty="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Письмо Министерства от 09.04.2019 №12Исх-3400</a:t>
            </a: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aphicFrame>
        <p:nvGraphicFramePr>
          <p:cNvPr id="10" name="Таблица 9">
            <a:extLst>
              <a:ext uri="{FF2B5EF4-FFF2-40B4-BE49-F238E27FC236}">
                <a16:creationId xmlns="" xmlns:a16="http://schemas.microsoft.com/office/drawing/2014/main" id="{64902B44-B576-4484-B1E5-F74296BAA5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2723836"/>
              </p:ext>
            </p:extLst>
          </p:nvPr>
        </p:nvGraphicFramePr>
        <p:xfrm>
          <a:off x="128187" y="1049073"/>
          <a:ext cx="11964113" cy="500522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01368">
                  <a:extLst>
                    <a:ext uri="{9D8B030D-6E8A-4147-A177-3AD203B41FA5}">
                      <a16:colId xmlns="" xmlns:a16="http://schemas.microsoft.com/office/drawing/2014/main" val="4072966026"/>
                    </a:ext>
                  </a:extLst>
                </a:gridCol>
                <a:gridCol w="9562745">
                  <a:extLst>
                    <a:ext uri="{9D8B030D-6E8A-4147-A177-3AD203B41FA5}">
                      <a16:colId xmlns="" xmlns:a16="http://schemas.microsoft.com/office/drawing/2014/main" val="2238164425"/>
                    </a:ext>
                  </a:extLst>
                </a:gridCol>
              </a:tblGrid>
              <a:tr h="462472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МСУ</a:t>
                      </a:r>
                      <a:endParaRPr lang="ru-RU" sz="16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сновные мероприятия</a:t>
                      </a:r>
                      <a:r>
                        <a:rPr lang="ru-RU" sz="2400" b="1" kern="12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ДК</a:t>
                      </a:r>
                      <a:r>
                        <a:rPr lang="ru-RU" sz="2400" b="1" kern="1200" baseline="300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*</a:t>
                      </a:r>
                      <a:endParaRPr lang="ru-RU" sz="2400" b="0" kern="1200" baseline="300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15945652"/>
                  </a:ext>
                </a:extLst>
              </a:tr>
              <a:tr h="4542751">
                <a:tc>
                  <a:txBody>
                    <a:bodyPr/>
                    <a:lstStyle/>
                    <a:p>
                      <a:pPr algn="ctr"/>
                      <a:r>
                        <a:rPr lang="ru-RU" sz="2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частники </a:t>
                      </a:r>
                    </a:p>
                    <a:p>
                      <a:pPr algn="ctr"/>
                      <a:r>
                        <a:rPr lang="en-US" sz="2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II</a:t>
                      </a:r>
                      <a:r>
                        <a:rPr lang="ru-RU" sz="2400" b="1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этапа</a:t>
                      </a:r>
                    </a:p>
                    <a:p>
                      <a:pPr algn="ctr"/>
                      <a:r>
                        <a:rPr lang="ru-RU" sz="24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18 ОМСУ)</a:t>
                      </a:r>
                      <a:endParaRPr lang="ru-RU" sz="24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Утверждение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рафика проведения обучающих семинаров с Ростелеком для отработки технических вопросов при проведении ОСС в эл. виде и работе в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системе.</a:t>
                      </a:r>
                    </a:p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позднее </a:t>
                      </a: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2.04.2019</a:t>
                      </a:r>
                      <a:endParaRPr lang="ru-RU" sz="1800" b="1" kern="1200" dirty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Отбор пилотных МКД для участия в проекте.</a:t>
                      </a:r>
                    </a:p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позднее 2</a:t>
                      </a:r>
                      <a:r>
                        <a:rPr lang="en-US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9</a:t>
                      </a: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04.201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3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Утверждение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ДК по проведению ОСС в МКД, включенных в пилотный проект, по вопросу перехода на проведение ОСС в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эл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виде.</a:t>
                      </a:r>
                      <a:endParaRPr lang="en-US" sz="18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позднее 29.04.2019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4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 Обеспечение регистрации управляющей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рганизации, собственников помещений и жителей МКД, вошедших в пилотный проект, в ЕИАС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ЖКХ.</a:t>
                      </a:r>
                      <a:endParaRPr lang="ru-RU" sz="14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остоянно / не позднее </a:t>
                      </a: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27.05.2019</a:t>
                      </a:r>
                      <a:endParaRPr lang="en-US" sz="18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endParaRPr lang="ru-RU" sz="1100" dirty="0" smtClean="0"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en-US" sz="1800" b="1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5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.</a:t>
                      </a:r>
                      <a:r>
                        <a:rPr lang="ru-RU" sz="1800" baseline="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Представление протоколов </a:t>
                      </a:r>
                      <a:r>
                        <a:rPr lang="ru-RU" sz="1800" dirty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ОСС с результатами голосования о переходе на проведение ОСС в эл. виде в </a:t>
                      </a:r>
                      <a:r>
                        <a:rPr lang="ru-RU" sz="18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ГЖИ и Министерство.</a:t>
                      </a:r>
                    </a:p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b="1" kern="1200" dirty="0" smtClean="0">
                          <a:solidFill>
                            <a:schemeClr val="dk1"/>
                          </a:solidFill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Не позднее 27.05.2019</a:t>
                      </a:r>
                      <a:endParaRPr lang="en-US" sz="1800" b="1" kern="1200" dirty="0" smtClean="0">
                        <a:solidFill>
                          <a:schemeClr val="dk1"/>
                        </a:solidFill>
                        <a:effectLst/>
                        <a:latin typeface="Times New Roman" panose="02020603050405020304" pitchFamily="18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336447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260735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2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-122367" y="710926"/>
            <a:ext cx="125283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Единая информационно-аналитическая система ЖКХ 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(</a:t>
            </a:r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ЕИАС ЖКХ</a:t>
            </a: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) </a:t>
            </a:r>
            <a:b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</a:br>
            <a:r>
              <a:rPr lang="ru-RU" sz="20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– </a:t>
            </a:r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региональный сегмент государственной информационной системы ЖКХ (ГИС ЖКХ)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graphicFrame>
        <p:nvGraphicFramePr>
          <p:cNvPr id="48" name="Схема 47"/>
          <p:cNvGraphicFramePr/>
          <p:nvPr>
            <p:extLst>
              <p:ext uri="{D42A27DB-BD31-4B8C-83A1-F6EECF244321}">
                <p14:modId xmlns:p14="http://schemas.microsoft.com/office/powerpoint/2010/main" val="517494311"/>
              </p:ext>
            </p:extLst>
          </p:nvPr>
        </p:nvGraphicFramePr>
        <p:xfrm>
          <a:off x="44687" y="1861351"/>
          <a:ext cx="7357540" cy="485382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2" name="TextBox 1"/>
          <p:cNvSpPr txBox="1"/>
          <p:nvPr/>
        </p:nvSpPr>
        <p:spPr>
          <a:xfrm>
            <a:off x="3204612" y="2009136"/>
            <a:ext cx="103769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itchFamily="18" charset="0"/>
                <a:cs typeface="Times New Roman" pitchFamily="18" charset="0"/>
              </a:rPr>
              <a:t>9 ЦИОГВ</a:t>
            </a:r>
            <a:endParaRPr lang="ru-RU" dirty="0"/>
          </a:p>
        </p:txBody>
      </p:sp>
      <p:sp>
        <p:nvSpPr>
          <p:cNvPr id="3" name="TextBox 2"/>
          <p:cNvSpPr txBox="1"/>
          <p:nvPr/>
        </p:nvSpPr>
        <p:spPr>
          <a:xfrm>
            <a:off x="5704378" y="2883743"/>
            <a:ext cx="102741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0% (244) ОМСУ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5370001" y="4829465"/>
            <a:ext cx="1736334" cy="923330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0% (2355) Управляющих организаций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2509453" y="5750190"/>
            <a:ext cx="233223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94% (594) </a:t>
            </a:r>
            <a:r>
              <a:rPr lang="ru-RU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Ресурсоснабжающих</a:t>
            </a: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организаций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86475" y="4795078"/>
            <a:ext cx="184935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0% (7) Региональных оператора ТКО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670043" y="2759149"/>
            <a:ext cx="13356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100% (48) Расчетных центров</a:t>
            </a:r>
          </a:p>
        </p:txBody>
      </p:sp>
      <p:sp>
        <p:nvSpPr>
          <p:cNvPr id="27" name="Прямоугольник 26"/>
          <p:cNvSpPr/>
          <p:nvPr/>
        </p:nvSpPr>
        <p:spPr>
          <a:xfrm>
            <a:off x="7799991" y="2564517"/>
            <a:ext cx="4392009" cy="39703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об организациях – участниках сферы ЖКХ (ЦИОГВ, ОМСУ, УО и РСО);</a:t>
            </a:r>
          </a:p>
          <a:p>
            <a:pPr marL="285750" lvl="0" indent="-285750">
              <a:buFontTx/>
              <a:buChar char="-"/>
              <a:defRPr/>
            </a:pPr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pPr lvl="0"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о многоквартирных домах и жилых домах (общие сведения, инженерные системы, помещения, износ, капитальный ремонт, общедомовые </a:t>
            </a:r>
            <a:br>
              <a:rPr lang="ru-RU" b="1" dirty="0">
                <a:latin typeface="Times New Roman" pitchFamily="18" charset="0"/>
                <a:cs typeface="Times New Roman" pitchFamily="18" charset="0"/>
              </a:rPr>
            </a:br>
            <a:r>
              <a:rPr lang="ru-RU" b="1" dirty="0">
                <a:latin typeface="Times New Roman" pitchFamily="18" charset="0"/>
                <a:cs typeface="Times New Roman" pitchFamily="18" charset="0"/>
              </a:rPr>
              <a:t>и индивидуальные приборы учета);</a:t>
            </a:r>
          </a:p>
          <a:p>
            <a:pPr marL="285750" lvl="0" indent="-285750">
              <a:buFontTx/>
              <a:buChar char="-"/>
              <a:defRPr/>
            </a:pPr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о лицевых счетах и платежных  </a:t>
            </a:r>
          </a:p>
          <a:p>
            <a:pPr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документах абонентов;</a:t>
            </a:r>
          </a:p>
          <a:p>
            <a:pPr>
              <a:defRPr/>
            </a:pPr>
            <a:endParaRPr lang="ru-RU" b="1" dirty="0">
              <a:latin typeface="Times New Roman" pitchFamily="18" charset="0"/>
              <a:cs typeface="Times New Roman" pitchFamily="18" charset="0"/>
            </a:endParaRPr>
          </a:p>
          <a:p>
            <a:pPr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об объектах коммунальной и инженерной инфраструктуры;</a:t>
            </a: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7429687" y="2564517"/>
            <a:ext cx="370304" cy="363974"/>
          </a:xfrm>
          <a:prstGeom prst="rect">
            <a:avLst/>
          </a:prstGeom>
        </p:spPr>
      </p:pic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7451581" y="3425697"/>
            <a:ext cx="370304" cy="363974"/>
          </a:xfrm>
          <a:prstGeom prst="rect">
            <a:avLst/>
          </a:prstGeom>
        </p:spPr>
      </p:pic>
      <p:pic>
        <p:nvPicPr>
          <p:cNvPr id="30" name="Рисунок 29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7429687" y="4987273"/>
            <a:ext cx="370304" cy="363974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968" t="6493" r="10937" b="16169"/>
          <a:stretch/>
        </p:blipFill>
        <p:spPr>
          <a:xfrm>
            <a:off x="7429687" y="5808616"/>
            <a:ext cx="370304" cy="363974"/>
          </a:xfrm>
          <a:prstGeom prst="rect">
            <a:avLst/>
          </a:prstGeom>
        </p:spPr>
      </p:pic>
      <p:sp>
        <p:nvSpPr>
          <p:cNvPr id="32" name="TextBox 31"/>
          <p:cNvSpPr txBox="1"/>
          <p:nvPr/>
        </p:nvSpPr>
        <p:spPr>
          <a:xfrm>
            <a:off x="7799991" y="1765067"/>
            <a:ext cx="450346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змещаемая в ЕИАС ЖКХ информация:</a:t>
            </a:r>
          </a:p>
        </p:txBody>
      </p:sp>
    </p:spTree>
    <p:extLst>
      <p:ext uri="{BB962C8B-B14F-4D97-AF65-F5344CB8AC3E}">
        <p14:creationId xmlns:p14="http://schemas.microsoft.com/office/powerpoint/2010/main" val="242799193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 smtClean="0"/>
              <a:t>20</a:t>
            </a:r>
            <a:endParaRPr lang="ru-RU" dirty="0"/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graphicFrame>
        <p:nvGraphicFramePr>
          <p:cNvPr id="12" name="Таблица 11">
            <a:extLst>
              <a:ext uri="{FF2B5EF4-FFF2-40B4-BE49-F238E27FC236}">
                <a16:creationId xmlns="" xmlns:a16="http://schemas.microsoft.com/office/drawing/2014/main" id="{64902B44-B576-4484-B1E5-F74296BAA5B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83657322"/>
              </p:ext>
            </p:extLst>
          </p:nvPr>
        </p:nvGraphicFramePr>
        <p:xfrm>
          <a:off x="526474" y="895610"/>
          <a:ext cx="11314544" cy="579432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17195">
                  <a:extLst>
                    <a:ext uri="{9D8B030D-6E8A-4147-A177-3AD203B41FA5}">
                      <a16:colId xmlns="" xmlns:a16="http://schemas.microsoft.com/office/drawing/2014/main" val="770129020"/>
                    </a:ext>
                  </a:extLst>
                </a:gridCol>
                <a:gridCol w="6264765">
                  <a:extLst>
                    <a:ext uri="{9D8B030D-6E8A-4147-A177-3AD203B41FA5}">
                      <a16:colId xmlns="" xmlns:a16="http://schemas.microsoft.com/office/drawing/2014/main" val="4072966026"/>
                    </a:ext>
                  </a:extLst>
                </a:gridCol>
                <a:gridCol w="2271275">
                  <a:extLst>
                    <a:ext uri="{9D8B030D-6E8A-4147-A177-3AD203B41FA5}">
                      <a16:colId xmlns="" xmlns:a16="http://schemas.microsoft.com/office/drawing/2014/main" val="2238164425"/>
                    </a:ext>
                  </a:extLst>
                </a:gridCol>
                <a:gridCol w="2161309">
                  <a:extLst>
                    <a:ext uri="{9D8B030D-6E8A-4147-A177-3AD203B41FA5}">
                      <a16:colId xmlns="" xmlns:a16="http://schemas.microsoft.com/office/drawing/2014/main" val="3378660804"/>
                    </a:ext>
                  </a:extLst>
                </a:gridCol>
              </a:tblGrid>
              <a:tr h="599315"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№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ручения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тветственные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Сроки: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2815945652"/>
                  </a:ext>
                </a:extLst>
              </a:tr>
              <a:tr h="675707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1.</a:t>
                      </a:r>
                      <a:endParaRPr lang="ru-RU" sz="1800" b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r>
                        <a:rPr lang="ru-RU" sz="1800" kern="12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еспечить проведение информационной кампании по переходу на проведение ОСС в электронном виде</a:t>
                      </a:r>
                      <a:endParaRPr lang="ru-RU" sz="180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оянно</a:t>
                      </a:r>
                      <a:endParaRPr lang="ru-RU" sz="1800" i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noFill/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1033644709"/>
                  </a:ext>
                </a:extLst>
              </a:tr>
              <a:tr h="726392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2.</a:t>
                      </a:r>
                      <a:endParaRPr lang="ru-RU" sz="1800" b="1" dirty="0">
                        <a:solidFill>
                          <a:schemeClr val="accent6">
                            <a:lumMod val="50000"/>
                          </a:schemeClr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еспечить переход на проведение ОСС в электронном виде дополнительно 10 МКД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en-US" sz="18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стники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тапа)</a:t>
                      </a:r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17.05.2019</a:t>
                      </a:r>
                      <a:endParaRPr lang="ru-RU" sz="1800" i="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525017152"/>
                  </a:ext>
                </a:extLst>
              </a:tr>
              <a:tr h="905721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3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еспечить проведение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ОСС в электронном виде по пилотным МКД, перешедшим на проведение ОСС в электронном виде, в соответствие с приоритетными тематиками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en-US" sz="18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стники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тапа)</a:t>
                      </a:r>
                      <a:endParaRPr lang="ru-RU" sz="180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 13.05.2019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  <a:tr h="752030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. 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Утвердить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за подписью Главы и представить в Министерство ДК по переходу на проведение ОСС в электронном виде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en-US" sz="18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стники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тапа)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</a:t>
                      </a:r>
                      <a:r>
                        <a:rPr lang="ru-RU" sz="1800" i="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9.04.2019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870702046"/>
                  </a:ext>
                </a:extLst>
              </a:tr>
              <a:tr h="715432">
                <a:tc>
                  <a:txBody>
                    <a:bodyPr/>
                    <a:lstStyle/>
                    <a:p>
                      <a:pPr marL="0" algn="ctr" defTabSz="914400" rtl="0" eaLnBrk="1" latinLnBrk="0" hangingPunct="1"/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5.</a:t>
                      </a:r>
                      <a:endParaRPr lang="ru-RU" sz="1800" kern="1200" dirty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еспечить переход на проведение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ОСС в электронном виде в соответствие с ДК (не менее 15 МКД)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en-US" sz="1800" baseline="0" dirty="0" smtClean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  <a:p>
                      <a:pPr algn="ctr"/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(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участники </a:t>
                      </a:r>
                      <a:r>
                        <a:rPr lang="en-US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II</a:t>
                      </a:r>
                      <a:r>
                        <a:rPr lang="ru-RU" sz="180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этапа)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До</a:t>
                      </a:r>
                      <a:r>
                        <a:rPr lang="ru-RU" sz="1800" i="0" baseline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 27.05.2019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3619685601"/>
                  </a:ext>
                </a:extLst>
              </a:tr>
              <a:tr h="705526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6.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Обеспечить регистрацию собственников помещений МКД в личном кабинете ЕИАС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ЖКХ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оянно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="" xmlns:a16="http://schemas.microsoft.com/office/drawing/2014/main" val="4015731665"/>
                  </a:ext>
                </a:extLst>
              </a:tr>
              <a:tr h="705526"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7. </a:t>
                      </a:r>
                      <a:endParaRPr lang="ru-RU" sz="1800" dirty="0"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kern="120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оведение опросов/голосований</a:t>
                      </a:r>
                      <a:r>
                        <a:rPr lang="ru-RU" sz="1800" kern="1200" baseline="0" dirty="0" smtClean="0">
                          <a:solidFill>
                            <a:schemeClr val="dk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в открытой части портала</a:t>
                      </a:r>
                      <a:endParaRPr lang="ru-RU" sz="1800" kern="1200" dirty="0" smtClean="0">
                        <a:solidFill>
                          <a:schemeClr val="dk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19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ОМСУ</a:t>
                      </a:r>
                      <a:endParaRPr lang="ru-RU" sz="18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800" i="0" dirty="0" smtClean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cs typeface="Times New Roman" panose="02020603050405020304" pitchFamily="18" charset="0"/>
                        </a:rPr>
                        <a:t>Постоянно</a:t>
                      </a:r>
                    </a:p>
                  </a:txBody>
                  <a:tcPr marL="55440" marR="19440" anchor="ctr">
                    <a:lnL w="12700" cmpd="sng">
                      <a:noFill/>
                    </a:lnL>
                    <a:lnR w="12700" cmpd="sng">
                      <a:noFill/>
                    </a:lnR>
                    <a:lnT w="6350" cap="flat" cmpd="sng" algn="ctr">
                      <a:solidFill>
                        <a:schemeClr val="accent1">
                          <a:lumMod val="50000"/>
                        </a:schemeClr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</a:tr>
            </a:tbl>
          </a:graphicData>
        </a:graphic>
      </p:graphicFrame>
      <p:sp>
        <p:nvSpPr>
          <p:cNvPr id="13" name="Прямоугольник 12"/>
          <p:cNvSpPr/>
          <p:nvPr/>
        </p:nvSpPr>
        <p:spPr>
          <a:xfrm>
            <a:off x="4212187" y="219865"/>
            <a:ext cx="498130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 smtClean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еречень поручений ОМСУ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33494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06749" y="1533143"/>
            <a:ext cx="3436416" cy="2096462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858" y="25080"/>
            <a:ext cx="689021" cy="630972"/>
          </a:xfrm>
          <a:prstGeom prst="rect">
            <a:avLst/>
          </a:prstGeom>
        </p:spPr>
      </p:pic>
      <p:sp>
        <p:nvSpPr>
          <p:cNvPr id="23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3</a:t>
            </a:r>
            <a:endParaRPr lang="ru-RU" dirty="0"/>
          </a:p>
        </p:txBody>
      </p:sp>
      <p:sp>
        <p:nvSpPr>
          <p:cNvPr id="30" name="TextBox 29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A7ED0234-2B63-354C-BCA2-DD1F1B816F80}"/>
              </a:ext>
            </a:extLst>
          </p:cNvPr>
          <p:cNvSpPr/>
          <p:nvPr/>
        </p:nvSpPr>
        <p:spPr>
          <a:xfrm>
            <a:off x="2625832" y="812429"/>
            <a:ext cx="698894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ЗАДАЧИ ЦИФРОВИЗАЦИИ ОТРАСЛИ ЖКХ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Заголовок 1">
            <a:extLst>
              <a:ext uri="{FF2B5EF4-FFF2-40B4-BE49-F238E27FC236}">
                <a16:creationId xmlns="" xmlns:a16="http://schemas.microsoft.com/office/drawing/2014/main" id="{D8D9641F-7EBA-E947-83C3-7673BAE6A6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44202" y="1532409"/>
            <a:ext cx="8062547" cy="2061889"/>
          </a:xfrm>
        </p:spPr>
        <p:txBody>
          <a:bodyPr>
            <a:normAutofit/>
          </a:bodyPr>
          <a:lstStyle/>
          <a:p>
            <a:pPr algn="ctr">
              <a:lnSpc>
                <a:spcPct val="100000"/>
              </a:lnSpc>
            </a:pPr>
            <a:r>
              <a:rPr lang="ru-RU" sz="2400" b="1" dirty="0">
                <a:solidFill>
                  <a:srgbClr val="C00000"/>
                </a:solidFill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Основная задача </a:t>
            </a:r>
            <a:r>
              <a:rPr lang="ru-RU" sz="2200" dirty="0">
                <a:latin typeface="+mn-lt"/>
                <a:ea typeface="+mn-ea"/>
                <a:cs typeface="+mn-cs"/>
              </a:rPr>
              <a:t>- </a:t>
            </a:r>
            <a: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предоставить жителям</a:t>
            </a:r>
            <a:b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Московской области простые</a:t>
            </a:r>
            <a:r>
              <a:rPr lang="en-US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,</a:t>
            </a:r>
            <a: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мобильные и  удобные сервисы управления своей квартирой и участия </a:t>
            </a:r>
            <a:b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</a:br>
            <a:r>
              <a:rPr lang="ru-RU" sz="2700" dirty="0"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в жизни дома через цифровое устройство</a:t>
            </a:r>
          </a:p>
        </p:txBody>
      </p:sp>
      <p:graphicFrame>
        <p:nvGraphicFramePr>
          <p:cNvPr id="16" name="Таблица 15">
            <a:extLst>
              <a:ext uri="{FF2B5EF4-FFF2-40B4-BE49-F238E27FC236}">
                <a16:creationId xmlns="" xmlns:a16="http://schemas.microsoft.com/office/drawing/2014/main" id="{4432F838-F23E-144F-AE55-5CE80C5ACA5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11017179"/>
              </p:ext>
            </p:extLst>
          </p:nvPr>
        </p:nvGraphicFramePr>
        <p:xfrm>
          <a:off x="290147" y="3833929"/>
          <a:ext cx="11353018" cy="28223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10788">
                  <a:extLst>
                    <a:ext uri="{9D8B030D-6E8A-4147-A177-3AD203B41FA5}">
                      <a16:colId xmlns="" xmlns:a16="http://schemas.microsoft.com/office/drawing/2014/main" val="20001"/>
                    </a:ext>
                  </a:extLst>
                </a:gridCol>
                <a:gridCol w="5442230">
                  <a:extLst>
                    <a:ext uri="{9D8B030D-6E8A-4147-A177-3AD203B41FA5}">
                      <a16:colId xmlns="" xmlns:a16="http://schemas.microsoft.com/office/drawing/2014/main" val="20003"/>
                    </a:ext>
                  </a:extLst>
                </a:gridCol>
              </a:tblGrid>
              <a:tr h="2822330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редоставить возможности активного обсуждения </a:t>
                      </a:r>
                      <a:b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по вопросам управления</a:t>
                      </a:r>
                      <a:r>
                        <a:rPr lang="ru-RU" sz="1900" b="0" kern="1200" baseline="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многоквартирными </a:t>
                      </a: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домами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900" b="0" kern="1200" dirty="0">
                        <a:solidFill>
                          <a:schemeClr val="tx1"/>
                        </a:solidFill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Исключить необходимость рутинной и ручной работы при оформлении документов и решений, </a:t>
                      </a:r>
                      <a:b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</a:br>
                      <a:r>
                        <a:rPr lang="ru-RU" sz="1900" b="0" kern="1200" dirty="0">
                          <a:solidFill>
                            <a:schemeClr val="tx1"/>
                          </a:solidFill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а также злоупотребления и реализацию мошеннических схем </a:t>
                      </a:r>
                    </a:p>
                  </a:txBody>
                  <a:tcPr anchor="ctr"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="" xmlns:a16="http://schemas.microsoft.com/office/drawing/2014/main" val="10000"/>
                  </a:ext>
                </a:extLst>
              </a:tr>
            </a:tbl>
          </a:graphicData>
        </a:graphic>
      </p:graphicFrame>
      <p:grpSp>
        <p:nvGrpSpPr>
          <p:cNvPr id="17" name="Группа 16">
            <a:extLst>
              <a:ext uri="{FF2B5EF4-FFF2-40B4-BE49-F238E27FC236}">
                <a16:creationId xmlns="" xmlns:a16="http://schemas.microsoft.com/office/drawing/2014/main" id="{7D2F0157-71F8-3D4D-875A-9C27AFCFDFD3}"/>
              </a:ext>
            </a:extLst>
          </p:cNvPr>
          <p:cNvGrpSpPr/>
          <p:nvPr/>
        </p:nvGrpSpPr>
        <p:grpSpPr>
          <a:xfrm>
            <a:off x="2741368" y="3767946"/>
            <a:ext cx="1222130" cy="994118"/>
            <a:chOff x="5051058" y="1059160"/>
            <a:chExt cx="388938" cy="361950"/>
          </a:xfrm>
          <a:effectLst/>
        </p:grpSpPr>
        <p:sp>
          <p:nvSpPr>
            <p:cNvPr id="18" name="Rectangle 22">
              <a:extLst>
                <a:ext uri="{FF2B5EF4-FFF2-40B4-BE49-F238E27FC236}">
                  <a16:creationId xmlns="" xmlns:a16="http://schemas.microsoft.com/office/drawing/2014/main" id="{CF85A67C-5ACD-9A4A-A8E9-DEE57969CE3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5051058" y="1112524"/>
              <a:ext cx="309753" cy="308586"/>
            </a:xfrm>
            <a:prstGeom prst="roundRect">
              <a:avLst/>
            </a:prstGeom>
            <a:solidFill>
              <a:schemeClr val="bg1"/>
            </a:solidFill>
            <a:ln w="9525">
              <a:solidFill>
                <a:schemeClr val="tx1">
                  <a:lumMod val="65000"/>
                  <a:lumOff val="35000"/>
                </a:schemeClr>
              </a:solidFill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endParaRPr lang="ru-RU" sz="1600"/>
            </a:p>
          </p:txBody>
        </p:sp>
        <p:sp>
          <p:nvSpPr>
            <p:cNvPr id="19" name="Freeform 23">
              <a:extLst>
                <a:ext uri="{FF2B5EF4-FFF2-40B4-BE49-F238E27FC236}">
                  <a16:creationId xmlns="" xmlns:a16="http://schemas.microsoft.com/office/drawing/2014/main" id="{01D4705F-C06D-A343-B5EA-83A77773F5FD}"/>
                </a:ext>
              </a:extLst>
            </p:cNvPr>
            <p:cNvSpPr>
              <a:spLocks/>
            </p:cNvSpPr>
            <p:nvPr>
              <p:custDataLst>
                <p:tags r:id="rId1"/>
              </p:custDataLst>
            </p:nvPr>
          </p:nvSpPr>
          <p:spPr bwMode="auto">
            <a:xfrm>
              <a:off x="5069690" y="1059160"/>
              <a:ext cx="370306" cy="334108"/>
            </a:xfrm>
            <a:custGeom>
              <a:avLst/>
              <a:gdLst>
                <a:gd name="T0" fmla="*/ 0 w 648"/>
                <a:gd name="T1" fmla="*/ 87 h 618"/>
                <a:gd name="T2" fmla="*/ 22 w 648"/>
                <a:gd name="T3" fmla="*/ 75 h 618"/>
                <a:gd name="T4" fmla="*/ 30 w 648"/>
                <a:gd name="T5" fmla="*/ 79 h 618"/>
                <a:gd name="T6" fmla="*/ 45 w 648"/>
                <a:gd name="T7" fmla="*/ 105 h 618"/>
                <a:gd name="T8" fmla="*/ 68 w 648"/>
                <a:gd name="T9" fmla="*/ 74 h 618"/>
                <a:gd name="T10" fmla="*/ 106 w 648"/>
                <a:gd name="T11" fmla="*/ 34 h 618"/>
                <a:gd name="T12" fmla="*/ 131 w 648"/>
                <a:gd name="T13" fmla="*/ 14 h 618"/>
                <a:gd name="T14" fmla="*/ 155 w 648"/>
                <a:gd name="T15" fmla="*/ 0 h 618"/>
                <a:gd name="T16" fmla="*/ 159 w 648"/>
                <a:gd name="T17" fmla="*/ 6 h 618"/>
                <a:gd name="T18" fmla="*/ 139 w 648"/>
                <a:gd name="T19" fmla="*/ 23 h 618"/>
                <a:gd name="T20" fmla="*/ 110 w 648"/>
                <a:gd name="T21" fmla="*/ 54 h 618"/>
                <a:gd name="T22" fmla="*/ 85 w 648"/>
                <a:gd name="T23" fmla="*/ 84 h 618"/>
                <a:gd name="T24" fmla="*/ 57 w 648"/>
                <a:gd name="T25" fmla="*/ 129 h 618"/>
                <a:gd name="T26" fmla="*/ 35 w 648"/>
                <a:gd name="T27" fmla="*/ 144 h 618"/>
                <a:gd name="T28" fmla="*/ 20 w 648"/>
                <a:gd name="T29" fmla="*/ 109 h 618"/>
                <a:gd name="T30" fmla="*/ 10 w 648"/>
                <a:gd name="T31" fmla="*/ 94 h 618"/>
                <a:gd name="T32" fmla="*/ 0 w 648"/>
                <a:gd name="T33" fmla="*/ 87 h 618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w 648"/>
                <a:gd name="T52" fmla="*/ 0 h 618"/>
                <a:gd name="T53" fmla="*/ 648 w 648"/>
                <a:gd name="T54" fmla="*/ 618 h 618"/>
              </a:gdLst>
              <a:ahLst/>
              <a:cxnLst>
                <a:cxn ang="T34">
                  <a:pos x="T0" y="T1"/>
                </a:cxn>
                <a:cxn ang="T35">
                  <a:pos x="T2" y="T3"/>
                </a:cxn>
                <a:cxn ang="T36">
                  <a:pos x="T4" y="T5"/>
                </a:cxn>
                <a:cxn ang="T37">
                  <a:pos x="T6" y="T7"/>
                </a:cxn>
                <a:cxn ang="T38">
                  <a:pos x="T8" y="T9"/>
                </a:cxn>
                <a:cxn ang="T39">
                  <a:pos x="T10" y="T11"/>
                </a:cxn>
                <a:cxn ang="T40">
                  <a:pos x="T12" y="T13"/>
                </a:cxn>
                <a:cxn ang="T41">
                  <a:pos x="T14" y="T15"/>
                </a:cxn>
                <a:cxn ang="T42">
                  <a:pos x="T16" y="T17"/>
                </a:cxn>
                <a:cxn ang="T43">
                  <a:pos x="T18" y="T19"/>
                </a:cxn>
                <a:cxn ang="T44">
                  <a:pos x="T20" y="T21"/>
                </a:cxn>
                <a:cxn ang="T45">
                  <a:pos x="T22" y="T23"/>
                </a:cxn>
                <a:cxn ang="T46">
                  <a:pos x="T24" y="T25"/>
                </a:cxn>
                <a:cxn ang="T47">
                  <a:pos x="T26" y="T27"/>
                </a:cxn>
                <a:cxn ang="T48">
                  <a:pos x="T28" y="T29"/>
                </a:cxn>
                <a:cxn ang="T49">
                  <a:pos x="T30" y="T31"/>
                </a:cxn>
                <a:cxn ang="T50">
                  <a:pos x="T32" y="T33"/>
                </a:cxn>
              </a:cxnLst>
              <a:rect l="T51" t="T52" r="T53" b="T54"/>
              <a:pathLst>
                <a:path w="648" h="618">
                  <a:moveTo>
                    <a:pt x="0" y="374"/>
                  </a:moveTo>
                  <a:lnTo>
                    <a:pt x="88" y="320"/>
                  </a:lnTo>
                  <a:lnTo>
                    <a:pt x="122" y="340"/>
                  </a:lnTo>
                  <a:lnTo>
                    <a:pt x="184" y="452"/>
                  </a:lnTo>
                  <a:lnTo>
                    <a:pt x="278" y="316"/>
                  </a:lnTo>
                  <a:lnTo>
                    <a:pt x="434" y="148"/>
                  </a:lnTo>
                  <a:lnTo>
                    <a:pt x="534" y="60"/>
                  </a:lnTo>
                  <a:lnTo>
                    <a:pt x="632" y="0"/>
                  </a:lnTo>
                  <a:lnTo>
                    <a:pt x="648" y="26"/>
                  </a:lnTo>
                  <a:lnTo>
                    <a:pt x="566" y="98"/>
                  </a:lnTo>
                  <a:lnTo>
                    <a:pt x="448" y="230"/>
                  </a:lnTo>
                  <a:lnTo>
                    <a:pt x="346" y="360"/>
                  </a:lnTo>
                  <a:lnTo>
                    <a:pt x="234" y="554"/>
                  </a:lnTo>
                  <a:lnTo>
                    <a:pt x="144" y="618"/>
                  </a:lnTo>
                  <a:lnTo>
                    <a:pt x="82" y="466"/>
                  </a:lnTo>
                  <a:lnTo>
                    <a:pt x="42" y="404"/>
                  </a:lnTo>
                  <a:lnTo>
                    <a:pt x="0" y="374"/>
                  </a:lnTo>
                  <a:close/>
                </a:path>
              </a:pathLst>
            </a:custGeom>
            <a:solidFill>
              <a:srgbClr val="008000"/>
            </a:solidFill>
            <a:ln w="9525" cap="flat" cmpd="sng">
              <a:solidFill>
                <a:schemeClr val="tx1">
                  <a:lumMod val="65000"/>
                  <a:lumOff val="35000"/>
                </a:schemeClr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wrap="none" anchor="ctr"/>
            <a:lstStyle/>
            <a:p>
              <a:endParaRPr lang="ru-RU" sz="1600"/>
            </a:p>
          </p:txBody>
        </p:sp>
      </p:grpSp>
      <p:sp>
        <p:nvSpPr>
          <p:cNvPr id="20" name="Freeform 298">
            <a:extLst>
              <a:ext uri="{FF2B5EF4-FFF2-40B4-BE49-F238E27FC236}">
                <a16:creationId xmlns="" xmlns:a16="http://schemas.microsoft.com/office/drawing/2014/main" id="{D7F832F4-A68F-1842-82D3-F88030F81727}"/>
              </a:ext>
            </a:extLst>
          </p:cNvPr>
          <p:cNvSpPr>
            <a:spLocks/>
          </p:cNvSpPr>
          <p:nvPr/>
        </p:nvSpPr>
        <p:spPr bwMode="auto">
          <a:xfrm>
            <a:off x="8529961" y="3833929"/>
            <a:ext cx="833659" cy="862152"/>
          </a:xfrm>
          <a:custGeom>
            <a:avLst/>
            <a:gdLst>
              <a:gd name="T0" fmla="*/ 58071 w 336"/>
              <a:gd name="T1" fmla="*/ 84306 h 340"/>
              <a:gd name="T2" fmla="*/ 85399 w 336"/>
              <a:gd name="T3" fmla="*/ 42153 h 340"/>
              <a:gd name="T4" fmla="*/ 126390 w 336"/>
              <a:gd name="T5" fmla="*/ 0 h 340"/>
              <a:gd name="T6" fmla="*/ 128668 w 336"/>
              <a:gd name="T7" fmla="*/ 37596 h 340"/>
              <a:gd name="T8" fmla="*/ 144609 w 336"/>
              <a:gd name="T9" fmla="*/ 75191 h 340"/>
              <a:gd name="T10" fmla="*/ 181046 w 336"/>
              <a:gd name="T11" fmla="*/ 143547 h 340"/>
              <a:gd name="T12" fmla="*/ 210651 w 336"/>
              <a:gd name="T13" fmla="*/ 110509 h 340"/>
              <a:gd name="T14" fmla="*/ 241394 w 336"/>
              <a:gd name="T15" fmla="*/ 76331 h 340"/>
              <a:gd name="T16" fmla="*/ 284663 w 336"/>
              <a:gd name="T17" fmla="*/ 45571 h 340"/>
              <a:gd name="T18" fmla="*/ 319961 w 336"/>
              <a:gd name="T19" fmla="*/ 42153 h 340"/>
              <a:gd name="T20" fmla="*/ 354121 w 336"/>
              <a:gd name="T21" fmla="*/ 63799 h 340"/>
              <a:gd name="T22" fmla="*/ 370062 w 336"/>
              <a:gd name="T23" fmla="*/ 107091 h 340"/>
              <a:gd name="T24" fmla="*/ 347289 w 336"/>
              <a:gd name="T25" fmla="*/ 112787 h 340"/>
              <a:gd name="T26" fmla="*/ 327932 w 336"/>
              <a:gd name="T27" fmla="*/ 118484 h 340"/>
              <a:gd name="T28" fmla="*/ 241394 w 336"/>
              <a:gd name="T29" fmla="*/ 210764 h 340"/>
              <a:gd name="T30" fmla="*/ 292634 w 336"/>
              <a:gd name="T31" fmla="*/ 255195 h 340"/>
              <a:gd name="T32" fmla="*/ 337041 w 336"/>
              <a:gd name="T33" fmla="*/ 279120 h 340"/>
              <a:gd name="T34" fmla="*/ 382587 w 336"/>
              <a:gd name="T35" fmla="*/ 284816 h 340"/>
              <a:gd name="T36" fmla="*/ 370062 w 336"/>
              <a:gd name="T37" fmla="*/ 313298 h 340"/>
              <a:gd name="T38" fmla="*/ 337041 w 336"/>
              <a:gd name="T39" fmla="*/ 353172 h 340"/>
              <a:gd name="T40" fmla="*/ 304020 w 336"/>
              <a:gd name="T41" fmla="*/ 363425 h 340"/>
              <a:gd name="T42" fmla="*/ 255058 w 336"/>
              <a:gd name="T43" fmla="*/ 338362 h 340"/>
              <a:gd name="T44" fmla="*/ 190155 w 336"/>
              <a:gd name="T45" fmla="*/ 281398 h 340"/>
              <a:gd name="T46" fmla="*/ 153718 w 336"/>
              <a:gd name="T47" fmla="*/ 333805 h 340"/>
              <a:gd name="T48" fmla="*/ 115004 w 336"/>
              <a:gd name="T49" fmla="*/ 375957 h 340"/>
              <a:gd name="T50" fmla="*/ 84260 w 336"/>
              <a:gd name="T51" fmla="*/ 387350 h 340"/>
              <a:gd name="T52" fmla="*/ 37576 w 336"/>
              <a:gd name="T53" fmla="*/ 362286 h 340"/>
              <a:gd name="T54" fmla="*/ 0 w 336"/>
              <a:gd name="T55" fmla="*/ 312159 h 340"/>
              <a:gd name="T56" fmla="*/ 39853 w 336"/>
              <a:gd name="T57" fmla="*/ 307601 h 340"/>
              <a:gd name="T58" fmla="*/ 76290 w 336"/>
              <a:gd name="T59" fmla="*/ 281398 h 340"/>
              <a:gd name="T60" fmla="*/ 127529 w 336"/>
              <a:gd name="T61" fmla="*/ 214182 h 340"/>
              <a:gd name="T62" fmla="*/ 78567 w 336"/>
              <a:gd name="T63" fmla="*/ 144687 h 340"/>
              <a:gd name="T64" fmla="*/ 64903 w 336"/>
              <a:gd name="T65" fmla="*/ 112787 h 340"/>
              <a:gd name="T66" fmla="*/ 58071 w 336"/>
              <a:gd name="T67" fmla="*/ 84306 h 340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w 336"/>
              <a:gd name="T103" fmla="*/ 0 h 340"/>
              <a:gd name="T104" fmla="*/ 336 w 336"/>
              <a:gd name="T105" fmla="*/ 340 h 340"/>
            </a:gdLst>
            <a:ahLst/>
            <a:cxnLst>
              <a:cxn ang="T68">
                <a:pos x="T0" y="T1"/>
              </a:cxn>
              <a:cxn ang="T69">
                <a:pos x="T2" y="T3"/>
              </a:cxn>
              <a:cxn ang="T70">
                <a:pos x="T4" y="T5"/>
              </a:cxn>
              <a:cxn ang="T71">
                <a:pos x="T6" y="T7"/>
              </a:cxn>
              <a:cxn ang="T72">
                <a:pos x="T8" y="T9"/>
              </a:cxn>
              <a:cxn ang="T73">
                <a:pos x="T10" y="T11"/>
              </a:cxn>
              <a:cxn ang="T74">
                <a:pos x="T12" y="T13"/>
              </a:cxn>
              <a:cxn ang="T75">
                <a:pos x="T14" y="T15"/>
              </a:cxn>
              <a:cxn ang="T76">
                <a:pos x="T16" y="T17"/>
              </a:cxn>
              <a:cxn ang="T77">
                <a:pos x="T18" y="T19"/>
              </a:cxn>
              <a:cxn ang="T78">
                <a:pos x="T20" y="T21"/>
              </a:cxn>
              <a:cxn ang="T79">
                <a:pos x="T22" y="T23"/>
              </a:cxn>
              <a:cxn ang="T80">
                <a:pos x="T24" y="T25"/>
              </a:cxn>
              <a:cxn ang="T81">
                <a:pos x="T26" y="T27"/>
              </a:cxn>
              <a:cxn ang="T82">
                <a:pos x="T28" y="T29"/>
              </a:cxn>
              <a:cxn ang="T83">
                <a:pos x="T30" y="T31"/>
              </a:cxn>
              <a:cxn ang="T84">
                <a:pos x="T32" y="T33"/>
              </a:cxn>
              <a:cxn ang="T85">
                <a:pos x="T34" y="T35"/>
              </a:cxn>
              <a:cxn ang="T86">
                <a:pos x="T36" y="T37"/>
              </a:cxn>
              <a:cxn ang="T87">
                <a:pos x="T38" y="T39"/>
              </a:cxn>
              <a:cxn ang="T88">
                <a:pos x="T40" y="T41"/>
              </a:cxn>
              <a:cxn ang="T89">
                <a:pos x="T42" y="T43"/>
              </a:cxn>
              <a:cxn ang="T90">
                <a:pos x="T44" y="T45"/>
              </a:cxn>
              <a:cxn ang="T91">
                <a:pos x="T46" y="T47"/>
              </a:cxn>
              <a:cxn ang="T92">
                <a:pos x="T48" y="T49"/>
              </a:cxn>
              <a:cxn ang="T93">
                <a:pos x="T50" y="T51"/>
              </a:cxn>
              <a:cxn ang="T94">
                <a:pos x="T52" y="T53"/>
              </a:cxn>
              <a:cxn ang="T95">
                <a:pos x="T54" y="T55"/>
              </a:cxn>
              <a:cxn ang="T96">
                <a:pos x="T56" y="T57"/>
              </a:cxn>
              <a:cxn ang="T97">
                <a:pos x="T58" y="T59"/>
              </a:cxn>
              <a:cxn ang="T98">
                <a:pos x="T60" y="T61"/>
              </a:cxn>
              <a:cxn ang="T99">
                <a:pos x="T62" y="T63"/>
              </a:cxn>
              <a:cxn ang="T100">
                <a:pos x="T64" y="T65"/>
              </a:cxn>
              <a:cxn ang="T101">
                <a:pos x="T66" y="T67"/>
              </a:cxn>
            </a:cxnLst>
            <a:rect l="T102" t="T103" r="T104" b="T105"/>
            <a:pathLst>
              <a:path w="336" h="340">
                <a:moveTo>
                  <a:pt x="51" y="74"/>
                </a:moveTo>
                <a:lnTo>
                  <a:pt x="75" y="37"/>
                </a:lnTo>
                <a:lnTo>
                  <a:pt x="111" y="0"/>
                </a:lnTo>
                <a:lnTo>
                  <a:pt x="113" y="33"/>
                </a:lnTo>
                <a:lnTo>
                  <a:pt x="127" y="66"/>
                </a:lnTo>
                <a:lnTo>
                  <a:pt x="159" y="126"/>
                </a:lnTo>
                <a:lnTo>
                  <a:pt x="185" y="97"/>
                </a:lnTo>
                <a:lnTo>
                  <a:pt x="212" y="67"/>
                </a:lnTo>
                <a:lnTo>
                  <a:pt x="250" y="40"/>
                </a:lnTo>
                <a:lnTo>
                  <a:pt x="281" y="37"/>
                </a:lnTo>
                <a:lnTo>
                  <a:pt x="311" y="56"/>
                </a:lnTo>
                <a:lnTo>
                  <a:pt x="325" y="94"/>
                </a:lnTo>
                <a:lnTo>
                  <a:pt x="305" y="99"/>
                </a:lnTo>
                <a:lnTo>
                  <a:pt x="288" y="104"/>
                </a:lnTo>
                <a:lnTo>
                  <a:pt x="212" y="185"/>
                </a:lnTo>
                <a:lnTo>
                  <a:pt x="257" y="224"/>
                </a:lnTo>
                <a:lnTo>
                  <a:pt x="296" y="245"/>
                </a:lnTo>
                <a:lnTo>
                  <a:pt x="336" y="250"/>
                </a:lnTo>
                <a:lnTo>
                  <a:pt x="325" y="275"/>
                </a:lnTo>
                <a:lnTo>
                  <a:pt x="296" y="310"/>
                </a:lnTo>
                <a:lnTo>
                  <a:pt x="267" y="319"/>
                </a:lnTo>
                <a:lnTo>
                  <a:pt x="224" y="297"/>
                </a:lnTo>
                <a:lnTo>
                  <a:pt x="167" y="247"/>
                </a:lnTo>
                <a:lnTo>
                  <a:pt x="135" y="293"/>
                </a:lnTo>
                <a:lnTo>
                  <a:pt x="101" y="330"/>
                </a:lnTo>
                <a:lnTo>
                  <a:pt x="74" y="340"/>
                </a:lnTo>
                <a:lnTo>
                  <a:pt x="33" y="318"/>
                </a:lnTo>
                <a:lnTo>
                  <a:pt x="0" y="274"/>
                </a:lnTo>
                <a:lnTo>
                  <a:pt x="35" y="270"/>
                </a:lnTo>
                <a:lnTo>
                  <a:pt x="67" y="247"/>
                </a:lnTo>
                <a:lnTo>
                  <a:pt x="112" y="188"/>
                </a:lnTo>
                <a:lnTo>
                  <a:pt x="69" y="127"/>
                </a:lnTo>
                <a:lnTo>
                  <a:pt x="57" y="99"/>
                </a:lnTo>
                <a:lnTo>
                  <a:pt x="51" y="74"/>
                </a:lnTo>
                <a:close/>
              </a:path>
            </a:pathLst>
          </a:custGeom>
          <a:solidFill>
            <a:srgbClr val="FF0000"/>
          </a:solidFill>
          <a:ln w="9525">
            <a:solidFill>
              <a:schemeClr val="tx1"/>
            </a:solidFill>
          </a:ln>
        </p:spPr>
        <p:txBody>
          <a:bodyPr wrap="none" anchor="ctr"/>
          <a:lstStyle/>
          <a:p>
            <a:endParaRPr lang="ru-RU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54713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Рисунок 19">
            <a:extLst>
              <a:ext uri="{FF2B5EF4-FFF2-40B4-BE49-F238E27FC236}">
                <a16:creationId xmlns="" xmlns:a16="http://schemas.microsoft.com/office/drawing/2014/main" id="{98B1E2F6-01A6-4D8E-B662-FC90C08CDE1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75618" y="587336"/>
            <a:ext cx="1911257" cy="1461636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6858" y="25080"/>
            <a:ext cx="689021" cy="630972"/>
          </a:xfrm>
          <a:prstGeom prst="rect">
            <a:avLst/>
          </a:prstGeom>
        </p:spPr>
      </p:pic>
      <p:sp>
        <p:nvSpPr>
          <p:cNvPr id="23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4</a:t>
            </a:r>
          </a:p>
        </p:txBody>
      </p:sp>
      <p:sp>
        <p:nvSpPr>
          <p:cNvPr id="30" name="TextBox 29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31" name="Прямоугольник 30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11" name="Текст 2">
            <a:extLst>
              <a:ext uri="{FF2B5EF4-FFF2-40B4-BE49-F238E27FC236}">
                <a16:creationId xmlns="" xmlns:a16="http://schemas.microsoft.com/office/drawing/2014/main" id="{A6108A62-884C-EC4C-B1DF-903371E957A1}"/>
              </a:ext>
            </a:extLst>
          </p:cNvPr>
          <p:cNvSpPr txBox="1">
            <a:spLocks/>
          </p:cNvSpPr>
          <p:nvPr/>
        </p:nvSpPr>
        <p:spPr>
          <a:xfrm>
            <a:off x="2741368" y="1976183"/>
            <a:ext cx="8883073" cy="463501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 сервис по организации проведения общих собраний собственников помещений в   </a:t>
            </a:r>
          </a:p>
          <a:p>
            <a:pPr lvl="1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    соответствии с требованиями жилищного законодательства</a:t>
            </a: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  <a:buFontTx/>
              <a:buChar char="-"/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- сервис организации проведения голосований для участия граждан в обсуждении, принятии решений по вопросам управления МКД, благоустройства придомовых и дворовых территорий</a:t>
            </a: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 </a:t>
            </a: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ервис уведомлений собственников и нанимателей жилых помещений МКД по вопросам функционирования МКД</a:t>
            </a: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endParaRPr lang="ru-RU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742950" lvl="1" indent="-285750">
              <a:lnSpc>
                <a:spcPct val="132000"/>
              </a:lnSpc>
              <a:buClr>
                <a:schemeClr val="accent2">
                  <a:lumMod val="75000"/>
                </a:schemeClr>
              </a:buClr>
            </a:pPr>
            <a:r>
              <a:rPr lang="ru-RU" dirty="0">
                <a:latin typeface="Times New Roman" panose="02020603050405020304" pitchFamily="18" charset="0"/>
                <a:cs typeface="Times New Roman" panose="02020603050405020304" pitchFamily="18" charset="0"/>
              </a:rPr>
              <a:t> - сервис общения между собственниками и нанимателями жилых помещений МКД (общедомовой чат)</a:t>
            </a:r>
          </a:p>
          <a:p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Прямоугольник 11">
            <a:extLst>
              <a:ext uri="{FF2B5EF4-FFF2-40B4-BE49-F238E27FC236}">
                <a16:creationId xmlns="" xmlns:a16="http://schemas.microsoft.com/office/drawing/2014/main" id="{A7ED0234-2B63-354C-BCA2-DD1F1B816F80}"/>
              </a:ext>
            </a:extLst>
          </p:cNvPr>
          <p:cNvSpPr/>
          <p:nvPr/>
        </p:nvSpPr>
        <p:spPr>
          <a:xfrm>
            <a:off x="1922865" y="964133"/>
            <a:ext cx="8252753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ЭЛЕКТРОННЫЕ СЕРВИСЫ ДЛЯ ГРАЖДАН </a:t>
            </a:r>
            <a:b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</a:br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НА БАЗЕ ЕИАС ЖКХ 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3" name="AutoShape 13"/>
          <p:cNvSpPr>
            <a:spLocks noChangeArrowheads="1"/>
          </p:cNvSpPr>
          <p:nvPr/>
        </p:nvSpPr>
        <p:spPr bwMode="auto">
          <a:xfrm>
            <a:off x="978995" y="1937325"/>
            <a:ext cx="2106884" cy="998338"/>
          </a:xfrm>
          <a:prstGeom prst="homePlate">
            <a:avLst>
              <a:gd name="adj" fmla="val 16972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</p:spPr>
        <p:txBody>
          <a:bodyPr lIns="36000" tIns="19202" rIns="19202" bIns="19202" anchor="ctr"/>
          <a:lstStyle/>
          <a:p>
            <a:pPr marL="94824" defTabSz="1021013"/>
            <a:r>
              <a:rPr lang="ru-RU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брания</a:t>
            </a:r>
          </a:p>
        </p:txBody>
      </p:sp>
      <p:sp>
        <p:nvSpPr>
          <p:cNvPr id="17" name="AutoShape 13"/>
          <p:cNvSpPr>
            <a:spLocks noChangeArrowheads="1"/>
          </p:cNvSpPr>
          <p:nvPr/>
        </p:nvSpPr>
        <p:spPr bwMode="auto">
          <a:xfrm>
            <a:off x="978995" y="3101199"/>
            <a:ext cx="2106884" cy="998338"/>
          </a:xfrm>
          <a:prstGeom prst="homePlate">
            <a:avLst>
              <a:gd name="adj" fmla="val 16972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</p:spPr>
        <p:txBody>
          <a:bodyPr lIns="36000" tIns="19202" rIns="19202" bIns="19202" anchor="ctr"/>
          <a:lstStyle/>
          <a:p>
            <a:pPr marL="94824" defTabSz="1021013"/>
            <a:r>
              <a:rPr lang="ru-RU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я/</a:t>
            </a:r>
          </a:p>
          <a:p>
            <a:pPr marL="94824" defTabSz="1021013"/>
            <a:r>
              <a:rPr lang="ru-RU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просы</a:t>
            </a:r>
          </a:p>
        </p:txBody>
      </p:sp>
      <p:sp>
        <p:nvSpPr>
          <p:cNvPr id="19" name="AutoShape 13"/>
          <p:cNvSpPr>
            <a:spLocks noChangeArrowheads="1"/>
          </p:cNvSpPr>
          <p:nvPr/>
        </p:nvSpPr>
        <p:spPr bwMode="auto">
          <a:xfrm>
            <a:off x="978995" y="5486185"/>
            <a:ext cx="2106884" cy="998338"/>
          </a:xfrm>
          <a:prstGeom prst="homePlate">
            <a:avLst>
              <a:gd name="adj" fmla="val 16972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</p:spPr>
        <p:txBody>
          <a:bodyPr lIns="36000" tIns="19202" rIns="19202" bIns="19202" anchor="ctr"/>
          <a:lstStyle/>
          <a:p>
            <a:pPr marL="94824" lvl="0" defTabSz="1021013"/>
            <a:r>
              <a:rPr lang="ru-RU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Общение</a:t>
            </a:r>
          </a:p>
        </p:txBody>
      </p:sp>
      <p:sp>
        <p:nvSpPr>
          <p:cNvPr id="15" name="AutoShape 13"/>
          <p:cNvSpPr>
            <a:spLocks noChangeArrowheads="1"/>
          </p:cNvSpPr>
          <p:nvPr/>
        </p:nvSpPr>
        <p:spPr bwMode="auto">
          <a:xfrm>
            <a:off x="978995" y="4293692"/>
            <a:ext cx="2106884" cy="998338"/>
          </a:xfrm>
          <a:prstGeom prst="homePlate">
            <a:avLst>
              <a:gd name="adj" fmla="val 16972"/>
            </a:avLst>
          </a:prstGeom>
          <a:solidFill>
            <a:schemeClr val="accent2">
              <a:lumMod val="20000"/>
              <a:lumOff val="80000"/>
            </a:schemeClr>
          </a:solidFill>
          <a:ln w="12700">
            <a:noFill/>
            <a:round/>
            <a:headEnd/>
            <a:tailEnd/>
          </a:ln>
          <a:effectLst>
            <a:outerShdw blurRad="50800" dist="38100" dir="2700000" algn="tl" rotWithShape="0">
              <a:srgbClr val="000000">
                <a:alpha val="39998"/>
              </a:srgbClr>
            </a:outerShdw>
          </a:effectLst>
        </p:spPr>
        <p:txBody>
          <a:bodyPr lIns="36000" tIns="19202" rIns="19202" bIns="19202" anchor="ctr"/>
          <a:lstStyle/>
          <a:p>
            <a:pPr marL="94824" defTabSz="1021013"/>
            <a:r>
              <a:rPr lang="ru-RU" b="1" kern="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формирование</a:t>
            </a:r>
          </a:p>
        </p:txBody>
      </p:sp>
    </p:spTree>
    <p:extLst>
      <p:ext uri="{BB962C8B-B14F-4D97-AF65-F5344CB8AC3E}">
        <p14:creationId xmlns:p14="http://schemas.microsoft.com/office/powerpoint/2010/main" val="22577695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/>
          <p:cNvSpPr txBox="1"/>
          <p:nvPr/>
        </p:nvSpPr>
        <p:spPr>
          <a:xfrm>
            <a:off x="-8921" y="0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2" name="Прямоугольник 21"/>
          <p:cNvSpPr/>
          <p:nvPr/>
        </p:nvSpPr>
        <p:spPr>
          <a:xfrm>
            <a:off x="0" y="524998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sp>
        <p:nvSpPr>
          <p:cNvPr id="24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5</a:t>
            </a:r>
            <a:endParaRPr lang="ru-RU" dirty="0"/>
          </a:p>
        </p:txBody>
      </p:sp>
      <p:sp>
        <p:nvSpPr>
          <p:cNvPr id="16" name="TextBox 15"/>
          <p:cNvSpPr txBox="1"/>
          <p:nvPr/>
        </p:nvSpPr>
        <p:spPr>
          <a:xfrm>
            <a:off x="0" y="0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8921" y="524998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sp>
        <p:nvSpPr>
          <p:cNvPr id="34" name="TextBox 33"/>
          <p:cNvSpPr txBox="1"/>
          <p:nvPr/>
        </p:nvSpPr>
        <p:spPr>
          <a:xfrm>
            <a:off x="597876" y="802384"/>
            <a:ext cx="1115958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РЕДПОСЫЛКИ ДЛЯ ПРОВЕДЕНИЯ ОБЩИХ СОБРАНИЙ В ЭЛЕКТРОННОМ ВИДЕ </a:t>
            </a:r>
          </a:p>
        </p:txBody>
      </p:sp>
      <p:sp>
        <p:nvSpPr>
          <p:cNvPr id="25" name="CustomShape 3"/>
          <p:cNvSpPr/>
          <p:nvPr/>
        </p:nvSpPr>
        <p:spPr>
          <a:xfrm>
            <a:off x="2400113" y="1285527"/>
            <a:ext cx="9276071" cy="1153145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1.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Инициаторы общего собрания собственников не обладают необходимыми знаниями о процедурных требованиях и оформлении результатов. </a:t>
            </a:r>
          </a:p>
        </p:txBody>
      </p:sp>
      <p:sp>
        <p:nvSpPr>
          <p:cNvPr id="13" name="CustomShape 3"/>
          <p:cNvSpPr/>
          <p:nvPr/>
        </p:nvSpPr>
        <p:spPr>
          <a:xfrm>
            <a:off x="2400113" y="2562672"/>
            <a:ext cx="9276072" cy="1035349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2. </a:t>
            </a:r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еявка на собрания и низкое представительство со стороны собственников.</a:t>
            </a:r>
          </a:p>
        </p:txBody>
      </p:sp>
      <p:sp>
        <p:nvSpPr>
          <p:cNvPr id="20" name="CustomShape 3"/>
          <p:cNvSpPr/>
          <p:nvPr/>
        </p:nvSpPr>
        <p:spPr>
          <a:xfrm>
            <a:off x="2400113" y="5285212"/>
            <a:ext cx="9276072" cy="1061476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4. Сложность в подведении итогов, подсчетов результатов с учетом требований о голосовании соразмерно долям в праве собственности на помещение.</a:t>
            </a:r>
          </a:p>
        </p:txBody>
      </p:sp>
      <p:sp>
        <p:nvSpPr>
          <p:cNvPr id="28" name="CustomShape 3"/>
          <p:cNvSpPr/>
          <p:nvPr/>
        </p:nvSpPr>
        <p:spPr>
          <a:xfrm>
            <a:off x="390240" y="2563842"/>
            <a:ext cx="1683393" cy="1035349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spcBef>
                <a:spcPts val="1200"/>
              </a:spcBef>
            </a:pPr>
            <a:endParaRPr lang="ru-RU" sz="2400" b="1" dirty="0">
              <a:latin typeface="Times New Roman" panose="02020603050405020304" pitchFamily="18" charset="0"/>
              <a:ea typeface="Calibri" charset="0"/>
              <a:cs typeface="Times New Roman" panose="02020603050405020304" pitchFamily="18" charset="0"/>
            </a:endParaRPr>
          </a:p>
        </p:txBody>
      </p:sp>
      <p:sp>
        <p:nvSpPr>
          <p:cNvPr id="29" name="CustomShape 3"/>
          <p:cNvSpPr/>
          <p:nvPr/>
        </p:nvSpPr>
        <p:spPr>
          <a:xfrm>
            <a:off x="380612" y="5249948"/>
            <a:ext cx="1683393" cy="1061478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spcBef>
                <a:spcPts val="1200"/>
              </a:spcBef>
            </a:pPr>
            <a:endParaRPr lang="ru-RU" sz="2400" dirty="0">
              <a:latin typeface="Times New Roman" panose="02020603050405020304" pitchFamily="18" charset="0"/>
              <a:ea typeface="Calibri" charset="0"/>
              <a:cs typeface="Times New Roman" panose="02020603050405020304" pitchFamily="18" charset="0"/>
            </a:endParaRPr>
          </a:p>
        </p:txBody>
      </p:sp>
      <p:sp>
        <p:nvSpPr>
          <p:cNvPr id="30" name="CustomShape 3"/>
          <p:cNvSpPr/>
          <p:nvPr/>
        </p:nvSpPr>
        <p:spPr>
          <a:xfrm>
            <a:off x="2400113" y="3722021"/>
            <a:ext cx="9276072" cy="1344991"/>
          </a:xfrm>
          <a:prstGeom prst="roundRect">
            <a:avLst>
              <a:gd name="adj" fmla="val 16667"/>
            </a:avLst>
          </a:prstGeom>
          <a:solidFill>
            <a:schemeClr val="bg1">
              <a:lumMod val="95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r>
              <a:rPr lang="ru-RU" sz="22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3. Высокая трудоемкость и длительность процедур оформления и организации собрания. </a:t>
            </a:r>
          </a:p>
        </p:txBody>
      </p:sp>
      <p:sp>
        <p:nvSpPr>
          <p:cNvPr id="32" name="CustomShape 3"/>
          <p:cNvSpPr/>
          <p:nvPr/>
        </p:nvSpPr>
        <p:spPr>
          <a:xfrm>
            <a:off x="390240" y="3741307"/>
            <a:ext cx="1683393" cy="1344993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spcBef>
                <a:spcPts val="1200"/>
              </a:spcBef>
            </a:pPr>
            <a:endParaRPr lang="ru-RU" sz="2400" b="1" dirty="0">
              <a:latin typeface="Times New Roman" panose="02020603050405020304" pitchFamily="18" charset="0"/>
              <a:ea typeface="Calibri" charset="0"/>
              <a:cs typeface="Times New Roman" panose="02020603050405020304" pitchFamily="18" charset="0"/>
            </a:endParaRPr>
          </a:p>
        </p:txBody>
      </p:sp>
      <p:pic>
        <p:nvPicPr>
          <p:cNvPr id="33" name="Рисунок 3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35" name="Рисунок 3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5770" y="77803"/>
            <a:ext cx="689021" cy="630972"/>
          </a:xfrm>
          <a:prstGeom prst="rect">
            <a:avLst/>
          </a:prstGeom>
        </p:spPr>
      </p:pic>
      <p:pic>
        <p:nvPicPr>
          <p:cNvPr id="37" name="Рисунок 36">
            <a:extLst>
              <a:ext uri="{FF2B5EF4-FFF2-40B4-BE49-F238E27FC236}">
                <a16:creationId xmlns="" xmlns:a16="http://schemas.microsoft.com/office/drawing/2014/main" id="{3BD5293B-83F8-FD4B-AF70-C0800E20385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50270" y="2747265"/>
            <a:ext cx="544079" cy="544079"/>
          </a:xfrm>
          <a:prstGeom prst="rect">
            <a:avLst/>
          </a:prstGeom>
        </p:spPr>
      </p:pic>
      <p:pic>
        <p:nvPicPr>
          <p:cNvPr id="38" name="Рисунок 37">
            <a:extLst>
              <a:ext uri="{FF2B5EF4-FFF2-40B4-BE49-F238E27FC236}">
                <a16:creationId xmlns="" xmlns:a16="http://schemas.microsoft.com/office/drawing/2014/main" id="{E419C5FB-C6D4-4847-9872-CA77910CAE3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6885" y="4114537"/>
            <a:ext cx="581092" cy="581092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="" xmlns:a16="http://schemas.microsoft.com/office/drawing/2014/main" id="{691530B4-B33D-0349-98CA-F36327AB4C7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62611" y="5351286"/>
            <a:ext cx="665366" cy="665366"/>
          </a:xfrm>
          <a:prstGeom prst="rect">
            <a:avLst/>
          </a:prstGeom>
        </p:spPr>
      </p:pic>
      <p:sp>
        <p:nvSpPr>
          <p:cNvPr id="27" name="CustomShape 3"/>
          <p:cNvSpPr/>
          <p:nvPr/>
        </p:nvSpPr>
        <p:spPr>
          <a:xfrm>
            <a:off x="425042" y="1273552"/>
            <a:ext cx="1683393" cy="1029888"/>
          </a:xfrm>
          <a:prstGeom prst="roundRect">
            <a:avLst>
              <a:gd name="adj" fmla="val 16667"/>
            </a:avLst>
          </a:prstGeom>
          <a:solidFill>
            <a:schemeClr val="accent6">
              <a:lumMod val="20000"/>
              <a:lumOff val="80000"/>
            </a:schemeClr>
          </a:solidFill>
          <a:ln>
            <a:solidFill>
              <a:srgbClr val="FFCCCC"/>
            </a:solidFill>
          </a:ln>
          <a:scene3d>
            <a:camera prst="orthographicFront"/>
            <a:lightRig rig="threePt" dir="t"/>
          </a:scene3d>
          <a:sp3d>
            <a:bevelT w="139700" prst="cross"/>
          </a:sp3d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/>
        </p:style>
        <p:txBody>
          <a:bodyPr lIns="90000" tIns="45000" rIns="90000" bIns="45000" anchor="ctr"/>
          <a:lstStyle/>
          <a:p>
            <a:pPr algn="ctr">
              <a:spcBef>
                <a:spcPts val="1200"/>
              </a:spcBef>
            </a:pPr>
            <a:endParaRPr lang="ru-RU" sz="2400" b="1" dirty="0">
              <a:latin typeface="Times New Roman" panose="02020603050405020304" pitchFamily="18" charset="0"/>
              <a:ea typeface="Calibri" charset="0"/>
              <a:cs typeface="Times New Roman" panose="02020603050405020304" pitchFamily="18" charset="0"/>
            </a:endParaRPr>
          </a:p>
        </p:txBody>
      </p:sp>
      <p:pic>
        <p:nvPicPr>
          <p:cNvPr id="36" name="Рисунок 35">
            <a:extLst>
              <a:ext uri="{FF2B5EF4-FFF2-40B4-BE49-F238E27FC236}">
                <a16:creationId xmlns="" xmlns:a16="http://schemas.microsoft.com/office/drawing/2014/main" id="{4D39A829-F727-F943-B15B-B6876CCE1A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81687" y="1503445"/>
            <a:ext cx="570101" cy="570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6887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pic>
        <p:nvPicPr>
          <p:cNvPr id="45" name="Рисунок 44" descr="011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9097095" y="1006292"/>
            <a:ext cx="3011385" cy="2409108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6</a:t>
            </a:r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202889" y="949146"/>
            <a:ext cx="957017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4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ПРАВОВЫЕ ОСНОВАНИЯ ПРОВЕДЕНИЯ ОБЩИХ СОБРАНИЙ СОБСТВЕННИКОВ ПОМЕЩЕНИЙ В ЭЛЕКТРОННОМ ВИДЕ</a:t>
            </a:r>
            <a:endParaRPr lang="ru-RU" sz="2400" b="1" dirty="0">
              <a:latin typeface="Times New Roman" panose="02020603050405020304" pitchFamily="18" charset="0"/>
              <a:ea typeface="Open Sans Light" panose="020B0306030504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202889" y="1995220"/>
            <a:ext cx="3586595" cy="2007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39" name="TextBox 38"/>
          <p:cNvSpPr txBox="1"/>
          <p:nvPr/>
        </p:nvSpPr>
        <p:spPr>
          <a:xfrm>
            <a:off x="3319333" y="2210846"/>
            <a:ext cx="536746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В соответствии с </a:t>
            </a:r>
            <a:r>
              <a:rPr lang="ru-RU" sz="20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п.п. 3.2-3.4 ст. 44 ЖК РФ</a:t>
            </a:r>
          </a:p>
          <a:p>
            <a:pPr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собственники помещений в МКД вправе принять решение об использовании системы для проведения ОСС в электронном виде</a:t>
            </a: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2890" y="4003070"/>
            <a:ext cx="3036187" cy="202292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3314737" y="3940808"/>
            <a:ext cx="8553524" cy="25237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Распоряжение Министерства жилищно-коммунального хозяйства Московской области от 22.10.2018 № 251-РВ «Об утверждении Порядка проведения общих собраний собственников помещений в многоквартирном доме, опроса и информирования в электронном виде с использованием единой информационно-аналитической системы жилищно-коммунального хозяйства Московской области» регламентирует порядок проведения ОСС в электронной форме с использованием ЕИАС ЖКХ МО»</a:t>
            </a:r>
          </a:p>
          <a:p>
            <a:pPr algn="just"/>
            <a:endParaRPr lang="ru-RU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82771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Рисунок 3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97565" y="5120843"/>
            <a:ext cx="1751072" cy="1434437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3986" y="5182174"/>
            <a:ext cx="2216406" cy="1343212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14110" y="25080"/>
            <a:ext cx="689021" cy="630972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7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21590" y="57513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sp>
        <p:nvSpPr>
          <p:cNvPr id="7" name="Прямоугольник 6"/>
          <p:cNvSpPr/>
          <p:nvPr/>
        </p:nvSpPr>
        <p:spPr>
          <a:xfrm>
            <a:off x="2994631" y="1223662"/>
            <a:ext cx="7907816" cy="971851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МСУ, УК или собственник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по инициативе которых созывается собрание,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бязаны сообщить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бственникам помещений в данном дом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проведении такого собрания не позднее чем за 10 дней до даты его проведения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2994631" y="2259285"/>
            <a:ext cx="7912626" cy="1195876"/>
          </a:xfrm>
          <a:prstGeom prst="rect">
            <a:avLst/>
          </a:prstGeom>
          <a:solidFill>
            <a:schemeClr val="accent4">
              <a:lumMod val="20000"/>
              <a:lumOff val="80000"/>
            </a:schemeClr>
          </a:solidFill>
          <a:ln>
            <a:solidFill>
              <a:schemeClr val="accent5">
                <a:lumMod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ообщение о проведении ОСС должно быть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правлено каждому собственнику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мещения в данном дом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азным письмом или вручено 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аждому собственнику помещения в данном доме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 роспись либо размещено в помещении</a:t>
            </a: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данного дома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1028" y="1238643"/>
            <a:ext cx="2470085" cy="2128054"/>
          </a:xfrm>
          <a:prstGeom prst="rect">
            <a:avLst/>
          </a:prstGeom>
        </p:spPr>
      </p:pic>
      <p:sp>
        <p:nvSpPr>
          <p:cNvPr id="11" name="Скругленный прямоугольник 10"/>
          <p:cNvSpPr/>
          <p:nvPr/>
        </p:nvSpPr>
        <p:spPr>
          <a:xfrm>
            <a:off x="451028" y="3509878"/>
            <a:ext cx="2642322" cy="1529115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олосование 3 – 6 дней </a:t>
            </a:r>
            <a:r>
              <a:rPr lang="ru-RU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i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срок, как правило, устанавливается инициатором собрания)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3343063" y="3628839"/>
            <a:ext cx="3787278" cy="1142884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Формирование протокола с решением о переходе </a:t>
            </a:r>
            <a:b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 электронный вид голосования </a:t>
            </a:r>
            <a:b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2 – 3 дня</a:t>
            </a:r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9380" y="4888487"/>
            <a:ext cx="1666793" cy="1666793"/>
          </a:xfrm>
          <a:prstGeom prst="rect">
            <a:avLst/>
          </a:prstGeom>
        </p:spPr>
      </p:pic>
      <p:sp>
        <p:nvSpPr>
          <p:cNvPr id="30" name="Скругленный прямоугольник 29"/>
          <p:cNvSpPr/>
          <p:nvPr/>
        </p:nvSpPr>
        <p:spPr>
          <a:xfrm>
            <a:off x="7380054" y="3535969"/>
            <a:ext cx="4542371" cy="1514368"/>
          </a:xfrm>
          <a:prstGeom prst="roundRect">
            <a:avLst/>
          </a:prstGeom>
          <a:solidFill>
            <a:schemeClr val="accent6">
              <a:lumMod val="20000"/>
              <a:lumOff val="80000"/>
            </a:schemeClr>
          </a:solidFill>
          <a:ln>
            <a:solidFill>
              <a:schemeClr val="accent3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одлинники решений и протокола собрания подлежат обязательному представлению в орган государственного жилищного надзора 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 позднее чем через </a:t>
            </a:r>
            <a:b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 дней после проведения собрания</a:t>
            </a:r>
          </a:p>
        </p:txBody>
      </p:sp>
      <p:sp>
        <p:nvSpPr>
          <p:cNvPr id="18" name="TextBox 17"/>
          <p:cNvSpPr txBox="1"/>
          <p:nvPr/>
        </p:nvSpPr>
        <p:spPr>
          <a:xfrm>
            <a:off x="2542161" y="304310"/>
            <a:ext cx="7835722" cy="8771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7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ЛЯ ПЕРЕХОДА НА ПРОВЕДЕНИЕ СОБРАНИЙ </a:t>
            </a:r>
            <a:br>
              <a:rPr lang="ru-RU" sz="17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700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 ЭЛЕКТРОННОМ ВИДЕ, НЕОБХОДИМО РЕШЕНИЕ ОБЩЕГО СОБРАНИЯ СОБСТВЕННИКОВ О ТАКОМ ПЕРЕХОДЕ</a:t>
            </a:r>
          </a:p>
        </p:txBody>
      </p:sp>
    </p:spTree>
    <p:extLst>
      <p:ext uri="{BB962C8B-B14F-4D97-AF65-F5344CB8AC3E}">
        <p14:creationId xmlns:p14="http://schemas.microsoft.com/office/powerpoint/2010/main" val="3388172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8</a:t>
            </a:r>
          </a:p>
        </p:txBody>
      </p:sp>
      <p:sp>
        <p:nvSpPr>
          <p:cNvPr id="16" name="Прямоугольник 15"/>
          <p:cNvSpPr/>
          <p:nvPr/>
        </p:nvSpPr>
        <p:spPr>
          <a:xfrm>
            <a:off x="2190106" y="787221"/>
            <a:ext cx="8474963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ТЕХНИЧЕСКАЯ РЕАЛИЗАЦИЯ ПРОВЕДЕНИЯ СОБРАНИЙ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cxnSp>
        <p:nvCxnSpPr>
          <p:cNvPr id="89" name="Прямая со стрелкой 88"/>
          <p:cNvCxnSpPr/>
          <p:nvPr/>
        </p:nvCxnSpPr>
        <p:spPr>
          <a:xfrm>
            <a:off x="5887844" y="3222702"/>
            <a:ext cx="50097" cy="412596"/>
          </a:xfrm>
          <a:prstGeom prst="straightConnector1">
            <a:avLst/>
          </a:prstGeom>
          <a:ln w="444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123517" y="1191669"/>
            <a:ext cx="5119367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1. Необходима регистрация собственника помещения </a:t>
            </a:r>
            <a:b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в ЕИАС ЖКХ посредством ЕСИА</a:t>
            </a:r>
          </a:p>
        </p:txBody>
      </p:sp>
      <p:pic>
        <p:nvPicPr>
          <p:cNvPr id="22" name="Рисунок 21"/>
          <p:cNvPicPr/>
          <p:nvPr/>
        </p:nvPicPr>
        <p:blipFill rotWithShape="1">
          <a:blip r:embed="rId4"/>
          <a:srcRect l="2028" r="4067" b="3809"/>
          <a:stretch/>
        </p:blipFill>
        <p:spPr>
          <a:xfrm>
            <a:off x="5570598" y="1523474"/>
            <a:ext cx="6285780" cy="4591304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60991" y="2976406"/>
            <a:ext cx="1817295" cy="1604390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4580" y="2996805"/>
            <a:ext cx="1828305" cy="1276986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8098" y="4294034"/>
            <a:ext cx="881268" cy="286762"/>
          </a:xfrm>
          <a:prstGeom prst="rect">
            <a:avLst/>
          </a:prstGeom>
        </p:spPr>
      </p:pic>
      <p:sp>
        <p:nvSpPr>
          <p:cNvPr id="18" name="Стрелка вниз 17"/>
          <p:cNvSpPr/>
          <p:nvPr/>
        </p:nvSpPr>
        <p:spPr>
          <a:xfrm rot="16200000">
            <a:off x="2798305" y="3631301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Стрелка вниз 24"/>
          <p:cNvSpPr/>
          <p:nvPr/>
        </p:nvSpPr>
        <p:spPr>
          <a:xfrm rot="16200000">
            <a:off x="4989299" y="3631301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850998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Рисунок 2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804565" y="1396127"/>
            <a:ext cx="6537163" cy="5344476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934299" y="3963727"/>
            <a:ext cx="1244181" cy="997289"/>
          </a:xfrm>
          <a:prstGeom prst="rect">
            <a:avLst/>
          </a:prstGeom>
        </p:spPr>
      </p:pic>
      <p:sp>
        <p:nvSpPr>
          <p:cNvPr id="21" name="Номер слайда 3"/>
          <p:cNvSpPr txBox="1">
            <a:spLocks/>
          </p:cNvSpPr>
          <p:nvPr/>
        </p:nvSpPr>
        <p:spPr>
          <a:xfrm>
            <a:off x="11757465" y="6534835"/>
            <a:ext cx="432000" cy="323165"/>
          </a:xfrm>
          <a:prstGeom prst="rect">
            <a:avLst/>
          </a:prstGeom>
          <a:solidFill>
            <a:srgbClr val="C4112F"/>
          </a:solidFill>
        </p:spPr>
        <p:txBody>
          <a:bodyPr wrap="square" rtlCol="0">
            <a:spAutoFit/>
          </a:bodyPr>
          <a:lstStyle>
            <a:defPPr>
              <a:defRPr lang="ru-RU"/>
            </a:defPPr>
            <a:lvl1pPr algn="ctr">
              <a:defRPr sz="1500" b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9</a:t>
            </a:r>
          </a:p>
        </p:txBody>
      </p:sp>
      <p:sp>
        <p:nvSpPr>
          <p:cNvPr id="19" name="TextBox 18"/>
          <p:cNvSpPr txBox="1"/>
          <p:nvPr/>
        </p:nvSpPr>
        <p:spPr>
          <a:xfrm>
            <a:off x="-8921" y="38354"/>
            <a:ext cx="2818024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ПРАВИТЕЛЬСТВО </a:t>
            </a:r>
          </a:p>
          <a:p>
            <a:r>
              <a:rPr lang="ru-RU" sz="1600" dirty="0">
                <a:solidFill>
                  <a:srgbClr val="C3122F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ОСКОВСКОЙ ОБЛАСТИ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0" y="563352"/>
            <a:ext cx="210843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rgbClr val="A5A5A5">
                    <a:lumMod val="75000"/>
                  </a:srgb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МИНИСТЕРСТВО ЖКХ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09471" y="85753"/>
            <a:ext cx="2747469" cy="477599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79606" y="25080"/>
            <a:ext cx="689021" cy="630972"/>
          </a:xfrm>
          <a:prstGeom prst="rect">
            <a:avLst/>
          </a:prstGeom>
        </p:spPr>
      </p:pic>
      <p:sp>
        <p:nvSpPr>
          <p:cNvPr id="11" name="TextBox 10"/>
          <p:cNvSpPr txBox="1"/>
          <p:nvPr/>
        </p:nvSpPr>
        <p:spPr>
          <a:xfrm>
            <a:off x="281732" y="1029255"/>
            <a:ext cx="396983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400" b="1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2. Вход в личный кабинет</a:t>
            </a:r>
          </a:p>
        </p:txBody>
      </p:sp>
      <p:sp>
        <p:nvSpPr>
          <p:cNvPr id="13" name="Стрелка вниз 12"/>
          <p:cNvSpPr/>
          <p:nvPr/>
        </p:nvSpPr>
        <p:spPr>
          <a:xfrm rot="14754698">
            <a:off x="8696713" y="2388033"/>
            <a:ext cx="169667" cy="703617"/>
          </a:xfrm>
          <a:prstGeom prst="downArrow">
            <a:avLst>
              <a:gd name="adj1" fmla="val 69386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3166" t="3165" r="19973" b="12047"/>
          <a:stretch/>
        </p:blipFill>
        <p:spPr>
          <a:xfrm>
            <a:off x="14543" y="2609636"/>
            <a:ext cx="1407560" cy="1787703"/>
          </a:xfrm>
          <a:prstGeom prst="rect">
            <a:avLst/>
          </a:prstGeom>
        </p:spPr>
      </p:pic>
      <p:sp>
        <p:nvSpPr>
          <p:cNvPr id="15" name="Стрелка вниз 14"/>
          <p:cNvSpPr/>
          <p:nvPr/>
        </p:nvSpPr>
        <p:spPr>
          <a:xfrm rot="16200000">
            <a:off x="1395760" y="3462385"/>
            <a:ext cx="433286" cy="515489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Прямоугольник 3"/>
          <p:cNvSpPr/>
          <p:nvPr/>
        </p:nvSpPr>
        <p:spPr>
          <a:xfrm>
            <a:off x="1878889" y="5585988"/>
            <a:ext cx="1860428" cy="1154615"/>
          </a:xfrm>
          <a:prstGeom prst="rect">
            <a:avLst/>
          </a:prstGeom>
          <a:noFill/>
          <a:ln w="381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ln>
                <a:solidFill>
                  <a:srgbClr val="FF0000"/>
                </a:solidFill>
              </a:ln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 flipV="1">
            <a:off x="3044824" y="5174915"/>
            <a:ext cx="1128549" cy="364434"/>
          </a:xfrm>
          <a:prstGeom prst="line">
            <a:avLst/>
          </a:prstGeom>
          <a:ln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7" name="Рисунок 16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58274" y="1593121"/>
            <a:ext cx="2723606" cy="1486269"/>
          </a:xfrm>
          <a:prstGeom prst="rect">
            <a:avLst/>
          </a:prstGeom>
        </p:spPr>
      </p:pic>
      <p:sp>
        <p:nvSpPr>
          <p:cNvPr id="18" name="Прямоугольник 17"/>
          <p:cNvSpPr/>
          <p:nvPr/>
        </p:nvSpPr>
        <p:spPr>
          <a:xfrm>
            <a:off x="1999612" y="679737"/>
            <a:ext cx="86032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2000" b="1" dirty="0">
                <a:solidFill>
                  <a:srgbClr val="C3122F"/>
                </a:solidFill>
                <a:latin typeface="Times New Roman" panose="02020603050405020304" pitchFamily="18" charset="0"/>
                <a:ea typeface="Open Sans Light" panose="020B0306030504020204" pitchFamily="34" charset="0"/>
                <a:cs typeface="Times New Roman" panose="02020603050405020304" pitchFamily="18" charset="0"/>
              </a:rPr>
              <a:t>ТЕХНИЧЕСКАЯ РЕАЛИЗАЦИЯ ПРОВЕДЕНИЯ СОБРАНИЙ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8448186" y="1021865"/>
            <a:ext cx="394294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ведомление в Личном кабинете </a:t>
            </a:r>
            <a:b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ЕИАС ЖКХ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9270910" y="3156196"/>
            <a:ext cx="26109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ведомление</a:t>
            </a:r>
            <a:b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на электронной почте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9020058" y="5122814"/>
            <a:ext cx="313688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Уведомление в мобильном приложении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74067" y="5707396"/>
            <a:ext cx="1880097" cy="1035827"/>
          </a:xfrm>
          <a:prstGeom prst="rect">
            <a:avLst/>
          </a:prstGeom>
        </p:spPr>
      </p:pic>
      <p:cxnSp>
        <p:nvCxnSpPr>
          <p:cNvPr id="16" name="Прямая соединительная линия 15"/>
          <p:cNvCxnSpPr/>
          <p:nvPr/>
        </p:nvCxnSpPr>
        <p:spPr>
          <a:xfrm>
            <a:off x="9020058" y="3156196"/>
            <a:ext cx="313688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Прямая соединительная линия 27"/>
          <p:cNvCxnSpPr/>
          <p:nvPr/>
        </p:nvCxnSpPr>
        <p:spPr>
          <a:xfrm>
            <a:off x="9007954" y="5037808"/>
            <a:ext cx="3136882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Рисунок 9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70566" y="2633358"/>
            <a:ext cx="4260870" cy="3248025"/>
          </a:xfrm>
          <a:prstGeom prst="rect">
            <a:avLst/>
          </a:prstGeom>
        </p:spPr>
      </p:pic>
      <p:sp>
        <p:nvSpPr>
          <p:cNvPr id="14" name="Прямоугольник 13"/>
          <p:cNvSpPr/>
          <p:nvPr/>
        </p:nvSpPr>
        <p:spPr>
          <a:xfrm>
            <a:off x="4173373" y="2633358"/>
            <a:ext cx="4104492" cy="3248025"/>
          </a:xfrm>
          <a:prstGeom prst="rect">
            <a:avLst/>
          </a:prstGeom>
          <a:noFill/>
          <a:ln w="28575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25" name="Прямая соединительная линия 24"/>
          <p:cNvCxnSpPr/>
          <p:nvPr/>
        </p:nvCxnSpPr>
        <p:spPr>
          <a:xfrm>
            <a:off x="4251566" y="3895892"/>
            <a:ext cx="2049646" cy="0"/>
          </a:xfrm>
          <a:prstGeom prst="line">
            <a:avLst/>
          </a:prstGeom>
          <a:ln w="381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Стрелка вниз 32"/>
          <p:cNvSpPr/>
          <p:nvPr/>
        </p:nvSpPr>
        <p:spPr>
          <a:xfrm rot="17736327" flipH="1">
            <a:off x="8626377" y="4979991"/>
            <a:ext cx="181220" cy="732156"/>
          </a:xfrm>
          <a:prstGeom prst="downArrow">
            <a:avLst>
              <a:gd name="adj1" fmla="val 69386"/>
              <a:gd name="adj2" fmla="val 50000"/>
            </a:avLst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654835" y="1443817"/>
            <a:ext cx="1049118" cy="398463"/>
          </a:xfrm>
          <a:prstGeom prst="rect">
            <a:avLst/>
          </a:prstGeom>
        </p:spPr>
      </p:pic>
      <p:sp>
        <p:nvSpPr>
          <p:cNvPr id="40" name="Стрелка вправо 39"/>
          <p:cNvSpPr/>
          <p:nvPr/>
        </p:nvSpPr>
        <p:spPr>
          <a:xfrm>
            <a:off x="8448186" y="4068365"/>
            <a:ext cx="710088" cy="24630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575891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J_4_m49jgEy5gtFpDR91zg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pulent</Template>
  <TotalTime>11034</TotalTime>
  <Words>1483</Words>
  <Application>Microsoft Office PowerPoint</Application>
  <PresentationFormat>Широкоэкранный</PresentationFormat>
  <Paragraphs>347</Paragraphs>
  <Slides>20</Slides>
  <Notes>1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8" baseType="lpstr">
      <vt:lpstr>Arial</vt:lpstr>
      <vt:lpstr>Calibri</vt:lpstr>
      <vt:lpstr>Calibri Light</vt:lpstr>
      <vt:lpstr>Open Sans</vt:lpstr>
      <vt:lpstr>Open Sans Light</vt:lpstr>
      <vt:lpstr>Times New Roman</vt:lpstr>
      <vt:lpstr>Wingdings</vt:lpstr>
      <vt:lpstr>Тема Office</vt:lpstr>
      <vt:lpstr>Презентация PowerPoint</vt:lpstr>
      <vt:lpstr>Презентация PowerPoint</vt:lpstr>
      <vt:lpstr>Основная задача - предоставить жителям Московской области простые, мобильные и  удобные сервисы управления своей квартирой и участия  в жизни дома через цифровое устройство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Пуляевский Родион Юрьевич</dc:creator>
  <cp:lastModifiedBy>Балахнин Михаил Михайлович</cp:lastModifiedBy>
  <cp:revision>533</cp:revision>
  <cp:lastPrinted>2019-04-09T16:28:56Z</cp:lastPrinted>
  <dcterms:created xsi:type="dcterms:W3CDTF">2018-11-08T09:16:53Z</dcterms:created>
  <dcterms:modified xsi:type="dcterms:W3CDTF">2019-04-23T16:17:35Z</dcterms:modified>
</cp:coreProperties>
</file>